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6"/>
  </p:notesMasterIdLst>
  <p:handoutMasterIdLst>
    <p:handoutMasterId r:id="rId37"/>
  </p:handoutMasterIdLst>
  <p:sldIdLst>
    <p:sldId id="453" r:id="rId5"/>
    <p:sldId id="415" r:id="rId6"/>
    <p:sldId id="479" r:id="rId7"/>
    <p:sldId id="429" r:id="rId8"/>
    <p:sldId id="488" r:id="rId9"/>
    <p:sldId id="484" r:id="rId10"/>
    <p:sldId id="424" r:id="rId11"/>
    <p:sldId id="430" r:id="rId12"/>
    <p:sldId id="425" r:id="rId13"/>
    <p:sldId id="459" r:id="rId14"/>
    <p:sldId id="480" r:id="rId15"/>
    <p:sldId id="485" r:id="rId16"/>
    <p:sldId id="467" r:id="rId17"/>
    <p:sldId id="469" r:id="rId18"/>
    <p:sldId id="475" r:id="rId19"/>
    <p:sldId id="477" r:id="rId20"/>
    <p:sldId id="476" r:id="rId21"/>
    <p:sldId id="471" r:id="rId22"/>
    <p:sldId id="473" r:id="rId23"/>
    <p:sldId id="472" r:id="rId24"/>
    <p:sldId id="468" r:id="rId25"/>
    <p:sldId id="486" r:id="rId26"/>
    <p:sldId id="439" r:id="rId27"/>
    <p:sldId id="442" r:id="rId28"/>
    <p:sldId id="441" r:id="rId29"/>
    <p:sldId id="487" r:id="rId30"/>
    <p:sldId id="445" r:id="rId31"/>
    <p:sldId id="474" r:id="rId32"/>
    <p:sldId id="446" r:id="rId33"/>
    <p:sldId id="447" r:id="rId34"/>
    <p:sldId id="466" r:id="rId35"/>
  </p:sldIdLst>
  <p:sldSz cx="12192000" cy="6858000"/>
  <p:notesSz cx="6797675" cy="9926638"/>
  <p:custDataLst>
    <p:tags r:id="rId3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613" userDrawn="1">
          <p15:clr>
            <a:srgbClr val="A4A3A4"/>
          </p15:clr>
        </p15:guide>
        <p15:guide id="2" orient="horz" pos="1434" userDrawn="1">
          <p15:clr>
            <a:srgbClr val="A4A3A4"/>
          </p15:clr>
        </p15:guide>
        <p15:guide id="3" pos="6970" userDrawn="1">
          <p15:clr>
            <a:srgbClr val="A4A3A4"/>
          </p15:clr>
        </p15:guide>
      </p15:sldGuideLst>
    </p:ext>
    <p:ext uri="{2D200454-40CA-4A62-9FC3-DE9A4176ACB9}">
      <p15:notesGuideLst xmlns:p15="http://schemas.microsoft.com/office/powerpoint/2012/main">
        <p15:guide id="1" orient="horz" pos="5687" userDrawn="1">
          <p15:clr>
            <a:srgbClr val="A4A3A4"/>
          </p15:clr>
        </p15:guide>
        <p15:guide id="2" orient="horz" pos="566" userDrawn="1">
          <p15:clr>
            <a:srgbClr val="A4A3A4"/>
          </p15:clr>
        </p15:guide>
        <p15:guide id="3" pos="297" userDrawn="1">
          <p15:clr>
            <a:srgbClr val="A4A3A4"/>
          </p15:clr>
        </p15:guide>
        <p15:guide id="4" pos="398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CA99550-6E35-FB54-1374-BB7E346B9AF6}" name="Annie Ziolek" initials="" userId="S::annie.ziolek@eqs.com::bcd9541d-06cb-4665-b7b5-319e11b0951e" providerId="AD"/>
  <p188:author id="{2476B153-BDD5-E04E-5123-B00DE7BBC06C}" name="Molly Brand" initials="MB" userId="S::molly.brand@eqs.com::b8940fc0-24ea-4b2e-98aa-d86e6a17f272" providerId="AD"/>
  <p188:author id="{27E468AD-F4E4-8575-F381-2E476290EA65}" name="Christy Karnatz" initials="CK" userId="S::christy.karnatz@eqs.com::e410c408-f274-48ee-91b0-c0c96eb95da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0055"/>
    <a:srgbClr val="BEEE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6334807-E537-4099-9411-48B81318F7D4}">
  <a:tblStyle styleId="{C6334807-E537-4099-9411-48B81318F7D4}" styleName="EQS Table">
    <a:wholeTbl>
      <a:tcTxStyle>
        <a:fontRef idx="minor">
          <a:prstClr val="black"/>
        </a:fontRef>
        <a:schemeClr val="dk1"/>
      </a:tcTxStyle>
      <a:tcStyle>
        <a:tcBdr>
          <a:left>
            <a:ln>
              <a:noFill/>
            </a:ln>
          </a:left>
          <a:right>
            <a:ln>
              <a:noFill/>
            </a:ln>
          </a:right>
          <a:top>
            <a:ln>
              <a:noFill/>
            </a:ln>
          </a:top>
          <a:bottom>
            <a:ln w="12700" cmpd="sng">
              <a:solidFill>
                <a:schemeClr val="dk1"/>
              </a:solidFill>
            </a:ln>
          </a:bottom>
          <a:insideH>
            <a:ln w="6350" cmpd="sng">
              <a:solidFill>
                <a:srgbClr val="9BA4BF"/>
              </a:solidFill>
            </a:ln>
          </a:insideH>
          <a:insideV>
            <a:ln>
              <a:noFill/>
            </a:ln>
          </a:insideV>
        </a:tcBdr>
        <a:fill>
          <a:noFill/>
        </a:fill>
      </a:tcStyle>
    </a:wholeTbl>
    <a:band1H>
      <a:tcStyle>
        <a:tcBdr/>
        <a:fill>
          <a:noFill/>
        </a:fill>
      </a:tcStyle>
    </a:band1H>
    <a:band2H>
      <a:tcStyle>
        <a:tcBdr>
          <a:insideH>
            <a:ln w="6350" cmpd="sng">
              <a:solidFill>
                <a:srgbClr val="9BA4BF"/>
              </a:solidFill>
            </a:ln>
          </a:insideH>
        </a:tcBdr>
        <a:fill>
          <a:solidFill>
            <a:srgbClr val="ECEFF8"/>
          </a:solidFill>
        </a:fill>
      </a:tcStyle>
    </a:band2H>
    <a:band1V>
      <a:tcStyle>
        <a:tcBdr/>
      </a:tcStyle>
    </a:band1V>
    <a:band2V>
      <a:tcStyle>
        <a:tcBdr/>
        <a:fill>
          <a:solidFill>
            <a:srgbClr val="ECEFF8"/>
          </a:solidFill>
        </a:fill>
      </a:tcStyle>
    </a:band2V>
    <a:firstCol>
      <a:tcTxStyle/>
      <a:tcStyle>
        <a:tcBdr/>
      </a:tcStyle>
    </a:firstCol>
    <a:lastRow>
      <a:tcTxStyle>
        <a:fontRef idx="minor">
          <a:prstClr val="black"/>
        </a:fontRef>
        <a:schemeClr val="dk1"/>
      </a:tcTxStyle>
      <a:tcStyle>
        <a:tcBdr>
          <a:top>
            <a:ln w="12700" cmpd="sng">
              <a:solidFill>
                <a:schemeClr val="dk1"/>
              </a:solidFill>
            </a:ln>
          </a:top>
          <a:bottom>
            <a:ln w="12700" cmpd="sng">
              <a:solidFill>
                <a:schemeClr val="dk1"/>
              </a:solidFill>
            </a:ln>
          </a:bottom>
        </a:tcBdr>
      </a:tcStyle>
    </a:lastRow>
    <a:firstRow>
      <a:tcTxStyle b="on">
        <a:fontRef idx="minor">
          <a:prstClr val="black"/>
        </a:fontRef>
        <a:schemeClr val="dk1"/>
      </a:tcTxStyle>
      <a:tcStyle>
        <a:tcBdr>
          <a:bottom>
            <a:ln w="12700" cmpd="sng">
              <a:solidFill>
                <a:schemeClr val="dk1"/>
              </a:solidFill>
            </a:ln>
          </a:bottom>
        </a:tcBdr>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464" autoAdjust="0"/>
    <p:restoredTop sz="96191" autoAdjust="0"/>
  </p:normalViewPr>
  <p:slideViewPr>
    <p:cSldViewPr snapToGrid="0">
      <p:cViewPr varScale="1">
        <p:scale>
          <a:sx n="139" d="100"/>
          <a:sy n="139" d="100"/>
        </p:scale>
        <p:origin x="536" y="184"/>
      </p:cViewPr>
      <p:guideLst>
        <p:guide pos="3613"/>
        <p:guide orient="horz" pos="1434"/>
        <p:guide pos="6970"/>
      </p:guideLst>
    </p:cSldViewPr>
  </p:slideViewPr>
  <p:notesTextViewPr>
    <p:cViewPr>
      <p:scale>
        <a:sx n="1" d="1"/>
        <a:sy n="1" d="1"/>
      </p:scale>
      <p:origin x="0" y="0"/>
    </p:cViewPr>
  </p:notesTextViewPr>
  <p:notesViewPr>
    <p:cSldViewPr snapToGrid="0">
      <p:cViewPr>
        <p:scale>
          <a:sx n="1" d="2"/>
          <a:sy n="1" d="2"/>
        </p:scale>
        <p:origin x="0" y="0"/>
      </p:cViewPr>
      <p:guideLst>
        <p:guide orient="horz" pos="5687"/>
        <p:guide orient="horz" pos="566"/>
        <p:guide pos="297"/>
        <p:guide pos="3985"/>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ty Karnatz" userId="e410c408-f274-48ee-91b0-c0c96eb95daf" providerId="ADAL" clId="{2CC9D7C3-500C-4041-B415-DB101CE6D8E5}"/>
    <pc:docChg chg="undo custSel modSld">
      <pc:chgData name="Christy Karnatz" userId="e410c408-f274-48ee-91b0-c0c96eb95daf" providerId="ADAL" clId="{2CC9D7C3-500C-4041-B415-DB101CE6D8E5}" dt="2026-05-22T21:49:11.287" v="115" actId="20577"/>
      <pc:docMkLst>
        <pc:docMk/>
      </pc:docMkLst>
      <pc:sldChg chg="modSp mod">
        <pc:chgData name="Christy Karnatz" userId="e410c408-f274-48ee-91b0-c0c96eb95daf" providerId="ADAL" clId="{2CC9D7C3-500C-4041-B415-DB101CE6D8E5}" dt="2026-05-22T21:47:36.550" v="80" actId="20577"/>
        <pc:sldMkLst>
          <pc:docMk/>
          <pc:sldMk cId="3785941517" sldId="439"/>
        </pc:sldMkLst>
        <pc:spChg chg="mod">
          <ac:chgData name="Christy Karnatz" userId="e410c408-f274-48ee-91b0-c0c96eb95daf" providerId="ADAL" clId="{2CC9D7C3-500C-4041-B415-DB101CE6D8E5}" dt="2026-05-22T21:47:36.550" v="80" actId="20577"/>
          <ac:spMkLst>
            <pc:docMk/>
            <pc:sldMk cId="3785941517" sldId="439"/>
            <ac:spMk id="7" creationId="{7AD501F4-B08F-B43D-8597-8AA58DAF73CA}"/>
          </ac:spMkLst>
        </pc:spChg>
        <pc:picChg chg="mod">
          <ac:chgData name="Christy Karnatz" userId="e410c408-f274-48ee-91b0-c0c96eb95daf" providerId="ADAL" clId="{2CC9D7C3-500C-4041-B415-DB101CE6D8E5}" dt="2026-05-22T21:45:11.483" v="16" actId="108"/>
          <ac:picMkLst>
            <pc:docMk/>
            <pc:sldMk cId="3785941517" sldId="439"/>
            <ac:picMk id="9" creationId="{7AB17D52-9030-5463-B830-B1B04EAA652D}"/>
          </ac:picMkLst>
        </pc:picChg>
      </pc:sldChg>
      <pc:sldChg chg="modSp mod">
        <pc:chgData name="Christy Karnatz" userId="e410c408-f274-48ee-91b0-c0c96eb95daf" providerId="ADAL" clId="{2CC9D7C3-500C-4041-B415-DB101CE6D8E5}" dt="2026-05-22T21:45:16.026" v="19" actId="108"/>
        <pc:sldMkLst>
          <pc:docMk/>
          <pc:sldMk cId="3170101367" sldId="441"/>
        </pc:sldMkLst>
        <pc:picChg chg="mod">
          <ac:chgData name="Christy Karnatz" userId="e410c408-f274-48ee-91b0-c0c96eb95daf" providerId="ADAL" clId="{2CC9D7C3-500C-4041-B415-DB101CE6D8E5}" dt="2026-05-22T21:45:15.377" v="18" actId="108"/>
          <ac:picMkLst>
            <pc:docMk/>
            <pc:sldMk cId="3170101367" sldId="441"/>
            <ac:picMk id="4" creationId="{7A3E02D4-AE6C-6EF1-1134-999BE801266C}"/>
          </ac:picMkLst>
        </pc:picChg>
        <pc:picChg chg="mod">
          <ac:chgData name="Christy Karnatz" userId="e410c408-f274-48ee-91b0-c0c96eb95daf" providerId="ADAL" clId="{2CC9D7C3-500C-4041-B415-DB101CE6D8E5}" dt="2026-05-22T21:45:16.026" v="19" actId="108"/>
          <ac:picMkLst>
            <pc:docMk/>
            <pc:sldMk cId="3170101367" sldId="441"/>
            <ac:picMk id="8" creationId="{2D21D905-D797-58E5-7112-B1DB24113CED}"/>
          </ac:picMkLst>
        </pc:picChg>
      </pc:sldChg>
      <pc:sldChg chg="modSp mod">
        <pc:chgData name="Christy Karnatz" userId="e410c408-f274-48ee-91b0-c0c96eb95daf" providerId="ADAL" clId="{2CC9D7C3-500C-4041-B415-DB101CE6D8E5}" dt="2026-05-22T21:45:13.473" v="17" actId="108"/>
        <pc:sldMkLst>
          <pc:docMk/>
          <pc:sldMk cId="1446914514" sldId="442"/>
        </pc:sldMkLst>
        <pc:picChg chg="mod">
          <ac:chgData name="Christy Karnatz" userId="e410c408-f274-48ee-91b0-c0c96eb95daf" providerId="ADAL" clId="{2CC9D7C3-500C-4041-B415-DB101CE6D8E5}" dt="2026-05-22T21:45:13.473" v="17" actId="108"/>
          <ac:picMkLst>
            <pc:docMk/>
            <pc:sldMk cId="1446914514" sldId="442"/>
            <ac:picMk id="16" creationId="{60B263A2-1482-EF12-5617-704C14A4C4D2}"/>
          </ac:picMkLst>
        </pc:picChg>
      </pc:sldChg>
      <pc:sldChg chg="modSp mod">
        <pc:chgData name="Christy Karnatz" userId="e410c408-f274-48ee-91b0-c0c96eb95daf" providerId="ADAL" clId="{2CC9D7C3-500C-4041-B415-DB101CE6D8E5}" dt="2026-05-22T21:49:11.287" v="115" actId="20577"/>
        <pc:sldMkLst>
          <pc:docMk/>
          <pc:sldMk cId="623469210" sldId="445"/>
        </pc:sldMkLst>
        <pc:spChg chg="mod">
          <ac:chgData name="Christy Karnatz" userId="e410c408-f274-48ee-91b0-c0c96eb95daf" providerId="ADAL" clId="{2CC9D7C3-500C-4041-B415-DB101CE6D8E5}" dt="2026-05-22T21:49:11.287" v="115" actId="20577"/>
          <ac:spMkLst>
            <pc:docMk/>
            <pc:sldMk cId="623469210" sldId="445"/>
            <ac:spMk id="8" creationId="{D56C1361-EC66-9468-4CB0-03ABEB9F7896}"/>
          </ac:spMkLst>
        </pc:spChg>
        <pc:picChg chg="mod">
          <ac:chgData name="Christy Karnatz" userId="e410c408-f274-48ee-91b0-c0c96eb95daf" providerId="ADAL" clId="{2CC9D7C3-500C-4041-B415-DB101CE6D8E5}" dt="2026-05-22T21:45:19.583" v="20" actId="108"/>
          <ac:picMkLst>
            <pc:docMk/>
            <pc:sldMk cId="623469210" sldId="445"/>
            <ac:picMk id="9" creationId="{DDDBD2E0-8D95-786C-57F6-6820C3D6556B}"/>
          </ac:picMkLst>
        </pc:picChg>
      </pc:sldChg>
      <pc:sldChg chg="modSp mod">
        <pc:chgData name="Christy Karnatz" userId="e410c408-f274-48ee-91b0-c0c96eb95daf" providerId="ADAL" clId="{2CC9D7C3-500C-4041-B415-DB101CE6D8E5}" dt="2026-05-22T21:48:25.916" v="94" actId="20577"/>
        <pc:sldMkLst>
          <pc:docMk/>
          <pc:sldMk cId="919044899" sldId="468"/>
        </pc:sldMkLst>
        <pc:spChg chg="mod">
          <ac:chgData name="Christy Karnatz" userId="e410c408-f274-48ee-91b0-c0c96eb95daf" providerId="ADAL" clId="{2CC9D7C3-500C-4041-B415-DB101CE6D8E5}" dt="2026-05-22T21:48:25.916" v="94" actId="20577"/>
          <ac:spMkLst>
            <pc:docMk/>
            <pc:sldMk cId="919044899" sldId="468"/>
            <ac:spMk id="2" creationId="{814285D6-1718-C162-89F5-965C982B60B2}"/>
          </ac:spMkLst>
        </pc:spChg>
        <pc:picChg chg="mod">
          <ac:chgData name="Christy Karnatz" userId="e410c408-f274-48ee-91b0-c0c96eb95daf" providerId="ADAL" clId="{2CC9D7C3-500C-4041-B415-DB101CE6D8E5}" dt="2026-05-22T21:45:07.351" v="14" actId="108"/>
          <ac:picMkLst>
            <pc:docMk/>
            <pc:sldMk cId="919044899" sldId="468"/>
            <ac:picMk id="8" creationId="{806CD41D-E12A-8FB9-6E82-232019CE66A5}"/>
          </ac:picMkLst>
        </pc:picChg>
        <pc:picChg chg="mod">
          <ac:chgData name="Christy Karnatz" userId="e410c408-f274-48ee-91b0-c0c96eb95daf" providerId="ADAL" clId="{2CC9D7C3-500C-4041-B415-DB101CE6D8E5}" dt="2026-05-22T21:45:07.780" v="15" actId="108"/>
          <ac:picMkLst>
            <pc:docMk/>
            <pc:sldMk cId="919044899" sldId="468"/>
            <ac:picMk id="9" creationId="{B2D239C4-F2A9-4317-29FD-65C4320C3130}"/>
          </ac:picMkLst>
        </pc:picChg>
      </pc:sldChg>
      <pc:sldChg chg="modSp mod">
        <pc:chgData name="Christy Karnatz" userId="e410c408-f274-48ee-91b0-c0c96eb95daf" providerId="ADAL" clId="{2CC9D7C3-500C-4041-B415-DB101CE6D8E5}" dt="2026-05-22T21:44:20.636" v="0" actId="108"/>
        <pc:sldMkLst>
          <pc:docMk/>
          <pc:sldMk cId="3192337419" sldId="469"/>
        </pc:sldMkLst>
        <pc:picChg chg="mod">
          <ac:chgData name="Christy Karnatz" userId="e410c408-f274-48ee-91b0-c0c96eb95daf" providerId="ADAL" clId="{2CC9D7C3-500C-4041-B415-DB101CE6D8E5}" dt="2026-05-22T21:44:20.636" v="0" actId="108"/>
          <ac:picMkLst>
            <pc:docMk/>
            <pc:sldMk cId="3192337419" sldId="469"/>
            <ac:picMk id="5" creationId="{84DCC617-A28C-DF83-A262-CF435D7427C6}"/>
          </ac:picMkLst>
        </pc:picChg>
      </pc:sldChg>
      <pc:sldChg chg="modSp mod">
        <pc:chgData name="Christy Karnatz" userId="e410c408-f274-48ee-91b0-c0c96eb95daf" providerId="ADAL" clId="{2CC9D7C3-500C-4041-B415-DB101CE6D8E5}" dt="2026-05-22T21:48:59.800" v="102" actId="20577"/>
        <pc:sldMkLst>
          <pc:docMk/>
          <pc:sldMk cId="523629794" sldId="470"/>
        </pc:sldMkLst>
        <pc:spChg chg="mod">
          <ac:chgData name="Christy Karnatz" userId="e410c408-f274-48ee-91b0-c0c96eb95daf" providerId="ADAL" clId="{2CC9D7C3-500C-4041-B415-DB101CE6D8E5}" dt="2026-05-22T21:48:59.800" v="102" actId="20577"/>
          <ac:spMkLst>
            <pc:docMk/>
            <pc:sldMk cId="523629794" sldId="470"/>
            <ac:spMk id="10" creationId="{1EB35EEF-05CB-FA95-A095-11CC6F10C21E}"/>
          </ac:spMkLst>
        </pc:spChg>
        <pc:picChg chg="mod">
          <ac:chgData name="Christy Karnatz" userId="e410c408-f274-48ee-91b0-c0c96eb95daf" providerId="ADAL" clId="{2CC9D7C3-500C-4041-B415-DB101CE6D8E5}" dt="2026-05-22T21:45:04.115" v="13" actId="108"/>
          <ac:picMkLst>
            <pc:docMk/>
            <pc:sldMk cId="523629794" sldId="470"/>
            <ac:picMk id="5" creationId="{34C0FACC-EA90-8D65-F8AC-E1369F1FE80C}"/>
          </ac:picMkLst>
        </pc:picChg>
      </pc:sldChg>
      <pc:sldChg chg="modSp mod">
        <pc:chgData name="Christy Karnatz" userId="e410c408-f274-48ee-91b0-c0c96eb95daf" providerId="ADAL" clId="{2CC9D7C3-500C-4041-B415-DB101CE6D8E5}" dt="2026-05-22T21:48:02.832" v="81" actId="33524"/>
        <pc:sldMkLst>
          <pc:docMk/>
          <pc:sldMk cId="3478226611" sldId="471"/>
        </pc:sldMkLst>
        <pc:spChg chg="mod">
          <ac:chgData name="Christy Karnatz" userId="e410c408-f274-48ee-91b0-c0c96eb95daf" providerId="ADAL" clId="{2CC9D7C3-500C-4041-B415-DB101CE6D8E5}" dt="2026-05-22T21:48:02.832" v="81" actId="33524"/>
          <ac:spMkLst>
            <pc:docMk/>
            <pc:sldMk cId="3478226611" sldId="471"/>
            <ac:spMk id="9" creationId="{2E840D0A-12EF-0FEB-8033-881AE9C72D9B}"/>
          </ac:spMkLst>
        </pc:spChg>
        <pc:picChg chg="mod">
          <ac:chgData name="Christy Karnatz" userId="e410c408-f274-48ee-91b0-c0c96eb95daf" providerId="ADAL" clId="{2CC9D7C3-500C-4041-B415-DB101CE6D8E5}" dt="2026-05-22T21:44:55.701" v="9" actId="108"/>
          <ac:picMkLst>
            <pc:docMk/>
            <pc:sldMk cId="3478226611" sldId="471"/>
            <ac:picMk id="5" creationId="{0379C0D7-1B53-8CA6-B0EC-E1D1FA2AC03C}"/>
          </ac:picMkLst>
        </pc:picChg>
        <pc:picChg chg="mod">
          <ac:chgData name="Christy Karnatz" userId="e410c408-f274-48ee-91b0-c0c96eb95daf" providerId="ADAL" clId="{2CC9D7C3-500C-4041-B415-DB101CE6D8E5}" dt="2026-05-22T21:44:56.616" v="10" actId="108"/>
          <ac:picMkLst>
            <pc:docMk/>
            <pc:sldMk cId="3478226611" sldId="471"/>
            <ac:picMk id="10" creationId="{10C2C05F-2456-C139-FF18-E1063BD4EBFE}"/>
          </ac:picMkLst>
        </pc:picChg>
      </pc:sldChg>
      <pc:sldChg chg="modSp mod">
        <pc:chgData name="Christy Karnatz" userId="e410c408-f274-48ee-91b0-c0c96eb95daf" providerId="ADAL" clId="{2CC9D7C3-500C-4041-B415-DB101CE6D8E5}" dt="2026-05-22T21:45:02.341" v="12" actId="108"/>
        <pc:sldMkLst>
          <pc:docMk/>
          <pc:sldMk cId="2881027770" sldId="472"/>
        </pc:sldMkLst>
        <pc:picChg chg="mod">
          <ac:chgData name="Christy Karnatz" userId="e410c408-f274-48ee-91b0-c0c96eb95daf" providerId="ADAL" clId="{2CC9D7C3-500C-4041-B415-DB101CE6D8E5}" dt="2026-05-22T21:45:02.341" v="12" actId="108"/>
          <ac:picMkLst>
            <pc:docMk/>
            <pc:sldMk cId="2881027770" sldId="472"/>
            <ac:picMk id="7" creationId="{7D857CA9-6C8C-DFFC-2863-5EBC89DEADDA}"/>
          </ac:picMkLst>
        </pc:picChg>
      </pc:sldChg>
      <pc:sldChg chg="modSp mod">
        <pc:chgData name="Christy Karnatz" userId="e410c408-f274-48ee-91b0-c0c96eb95daf" providerId="ADAL" clId="{2CC9D7C3-500C-4041-B415-DB101CE6D8E5}" dt="2026-05-22T21:44:58.603" v="11" actId="108"/>
        <pc:sldMkLst>
          <pc:docMk/>
          <pc:sldMk cId="3596240615" sldId="473"/>
        </pc:sldMkLst>
        <pc:picChg chg="mod">
          <ac:chgData name="Christy Karnatz" userId="e410c408-f274-48ee-91b0-c0c96eb95daf" providerId="ADAL" clId="{2CC9D7C3-500C-4041-B415-DB101CE6D8E5}" dt="2026-05-22T21:44:58.603" v="11" actId="108"/>
          <ac:picMkLst>
            <pc:docMk/>
            <pc:sldMk cId="3596240615" sldId="473"/>
            <ac:picMk id="5" creationId="{0123626F-FA48-7FE5-1EEC-C533A14AEB29}"/>
          </ac:picMkLst>
        </pc:picChg>
      </pc:sldChg>
      <pc:sldChg chg="modSp mod">
        <pc:chgData name="Christy Karnatz" userId="e410c408-f274-48ee-91b0-c0c96eb95daf" providerId="ADAL" clId="{2CC9D7C3-500C-4041-B415-DB101CE6D8E5}" dt="2026-05-22T21:47:10.177" v="73" actId="20577"/>
        <pc:sldMkLst>
          <pc:docMk/>
          <pc:sldMk cId="3907732915" sldId="474"/>
        </pc:sldMkLst>
        <pc:spChg chg="mod">
          <ac:chgData name="Christy Karnatz" userId="e410c408-f274-48ee-91b0-c0c96eb95daf" providerId="ADAL" clId="{2CC9D7C3-500C-4041-B415-DB101CE6D8E5}" dt="2026-05-22T21:47:10.177" v="73" actId="20577"/>
          <ac:spMkLst>
            <pc:docMk/>
            <pc:sldMk cId="3907732915" sldId="474"/>
            <ac:spMk id="8" creationId="{311C366A-8146-6316-27BE-3937C9CAEA0C}"/>
          </ac:spMkLst>
        </pc:spChg>
        <pc:picChg chg="mod">
          <ac:chgData name="Christy Karnatz" userId="e410c408-f274-48ee-91b0-c0c96eb95daf" providerId="ADAL" clId="{2CC9D7C3-500C-4041-B415-DB101CE6D8E5}" dt="2026-05-22T21:46:37.921" v="22" actId="14826"/>
          <ac:picMkLst>
            <pc:docMk/>
            <pc:sldMk cId="3907732915" sldId="474"/>
            <ac:picMk id="11" creationId="{25598A3B-B811-4FA6-7021-08F379EB6674}"/>
          </ac:picMkLst>
        </pc:picChg>
      </pc:sldChg>
      <pc:sldChg chg="modSp mod">
        <pc:chgData name="Christy Karnatz" userId="e410c408-f274-48ee-91b0-c0c96eb95daf" providerId="ADAL" clId="{2CC9D7C3-500C-4041-B415-DB101CE6D8E5}" dt="2026-05-22T21:44:29.543" v="1" actId="108"/>
        <pc:sldMkLst>
          <pc:docMk/>
          <pc:sldMk cId="2435585619" sldId="475"/>
        </pc:sldMkLst>
        <pc:picChg chg="mod">
          <ac:chgData name="Christy Karnatz" userId="e410c408-f274-48ee-91b0-c0c96eb95daf" providerId="ADAL" clId="{2CC9D7C3-500C-4041-B415-DB101CE6D8E5}" dt="2026-05-22T21:44:29.543" v="1" actId="108"/>
          <ac:picMkLst>
            <pc:docMk/>
            <pc:sldMk cId="2435585619" sldId="475"/>
            <ac:picMk id="3" creationId="{323927F9-0C55-A788-37B8-027F06D47DC7}"/>
          </ac:picMkLst>
        </pc:picChg>
      </pc:sldChg>
      <pc:sldChg chg="modSp mod">
        <pc:chgData name="Christy Karnatz" userId="e410c408-f274-48ee-91b0-c0c96eb95daf" providerId="ADAL" clId="{2CC9D7C3-500C-4041-B415-DB101CE6D8E5}" dt="2026-05-22T21:44:52.908" v="8" actId="108"/>
        <pc:sldMkLst>
          <pc:docMk/>
          <pc:sldMk cId="3735527995" sldId="476"/>
        </pc:sldMkLst>
        <pc:picChg chg="mod">
          <ac:chgData name="Christy Karnatz" userId="e410c408-f274-48ee-91b0-c0c96eb95daf" providerId="ADAL" clId="{2CC9D7C3-500C-4041-B415-DB101CE6D8E5}" dt="2026-05-22T21:44:49.038" v="6" actId="108"/>
          <ac:picMkLst>
            <pc:docMk/>
            <pc:sldMk cId="3735527995" sldId="476"/>
            <ac:picMk id="14" creationId="{DAC3D368-91A0-DE00-3D07-D631CA448C8D}"/>
          </ac:picMkLst>
        </pc:picChg>
        <pc:picChg chg="mod">
          <ac:chgData name="Christy Karnatz" userId="e410c408-f274-48ee-91b0-c0c96eb95daf" providerId="ADAL" clId="{2CC9D7C3-500C-4041-B415-DB101CE6D8E5}" dt="2026-05-22T21:44:51.930" v="7" actId="108"/>
          <ac:picMkLst>
            <pc:docMk/>
            <pc:sldMk cId="3735527995" sldId="476"/>
            <ac:picMk id="16" creationId="{23CB3C30-F69C-065B-4DF5-FEB4F3B0AAFA}"/>
          </ac:picMkLst>
        </pc:picChg>
        <pc:picChg chg="mod">
          <ac:chgData name="Christy Karnatz" userId="e410c408-f274-48ee-91b0-c0c96eb95daf" providerId="ADAL" clId="{2CC9D7C3-500C-4041-B415-DB101CE6D8E5}" dt="2026-05-22T21:44:52.908" v="8" actId="108"/>
          <ac:picMkLst>
            <pc:docMk/>
            <pc:sldMk cId="3735527995" sldId="476"/>
            <ac:picMk id="18" creationId="{C50F79F0-8603-21B2-B9BF-E9F0C2925388}"/>
          </ac:picMkLst>
        </pc:picChg>
      </pc:sldChg>
      <pc:sldChg chg="modSp mod">
        <pc:chgData name="Christy Karnatz" userId="e410c408-f274-48ee-91b0-c0c96eb95daf" providerId="ADAL" clId="{2CC9D7C3-500C-4041-B415-DB101CE6D8E5}" dt="2026-05-22T21:44:42.091" v="5" actId="108"/>
        <pc:sldMkLst>
          <pc:docMk/>
          <pc:sldMk cId="1538685746" sldId="477"/>
        </pc:sldMkLst>
        <pc:picChg chg="mod">
          <ac:chgData name="Christy Karnatz" userId="e410c408-f274-48ee-91b0-c0c96eb95daf" providerId="ADAL" clId="{2CC9D7C3-500C-4041-B415-DB101CE6D8E5}" dt="2026-05-22T21:44:42.091" v="5" actId="108"/>
          <ac:picMkLst>
            <pc:docMk/>
            <pc:sldMk cId="1538685746" sldId="477"/>
            <ac:picMk id="9" creationId="{B958F616-A4A1-C67D-AFF1-EE7187287F6E}"/>
          </ac:picMkLst>
        </pc:picChg>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ußzeilenplatzhalter 4"/>
          <p:cNvSpPr>
            <a:spLocks noGrp="1"/>
          </p:cNvSpPr>
          <p:nvPr>
            <p:ph type="ftr" sz="quarter" idx="2"/>
          </p:nvPr>
        </p:nvSpPr>
        <p:spPr>
          <a:xfrm>
            <a:off x="472479" y="361154"/>
            <a:ext cx="4282000" cy="234488"/>
          </a:xfrm>
          <a:prstGeom prst="rect">
            <a:avLst/>
          </a:prstGeom>
        </p:spPr>
        <p:txBody>
          <a:bodyPr vert="horz" lIns="0" tIns="0" rIns="0" bIns="36000" rtlCol="0" anchor="b">
            <a:noAutofit/>
          </a:bodyPr>
          <a:lstStyle>
            <a:lvl1pPr algn="l">
              <a:defRPr sz="1000">
                <a:solidFill>
                  <a:schemeClr val="accent6"/>
                </a:solidFill>
                <a:latin typeface="Ubuntu" panose="020B0504030602030204" pitchFamily="34" charset="0"/>
              </a:defRPr>
            </a:lvl1pPr>
          </a:lstStyle>
          <a:p>
            <a:r>
              <a:rPr lang="en-US">
                <a:solidFill>
                  <a:schemeClr val="tx1"/>
                </a:solidFill>
              </a:rPr>
              <a:t>Theme of the presentation   |   dd.mm.yyyy</a:t>
            </a:r>
            <a:endParaRPr lang="de-DE">
              <a:solidFill>
                <a:schemeClr val="tx1"/>
              </a:solidFill>
            </a:endParaRPr>
          </a:p>
        </p:txBody>
      </p:sp>
      <p:sp>
        <p:nvSpPr>
          <p:cNvPr id="2" name="Foliennummernplatzhalter 287">
            <a:extLst>
              <a:ext uri="{FF2B5EF4-FFF2-40B4-BE49-F238E27FC236}">
                <a16:creationId xmlns:a16="http://schemas.microsoft.com/office/drawing/2014/main" id="{9625247A-7CF4-4336-17D4-A5A2B78C0167}"/>
              </a:ext>
            </a:extLst>
          </p:cNvPr>
          <p:cNvSpPr>
            <a:spLocks noGrp="1"/>
          </p:cNvSpPr>
          <p:nvPr>
            <p:ph type="sldNum" sz="quarter" idx="3"/>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a:p>
        </p:txBody>
      </p:sp>
      <p:sp>
        <p:nvSpPr>
          <p:cNvPr id="3" name="Freihandform: Form 459">
            <a:extLst>
              <a:ext uri="{FF2B5EF4-FFF2-40B4-BE49-F238E27FC236}">
                <a16:creationId xmlns:a16="http://schemas.microsoft.com/office/drawing/2014/main" id="{FA9EAC26-6494-B398-DA3F-E64DA47411A9}"/>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018705583"/>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46509" y="898525"/>
            <a:ext cx="4687888" cy="2638425"/>
          </a:xfrm>
          <a:prstGeom prst="rect">
            <a:avLst/>
          </a:prstGeom>
          <a:noFill/>
          <a:ln w="6350">
            <a:solidFill>
              <a:schemeClr val="bg2"/>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472479" y="3868922"/>
            <a:ext cx="5852067" cy="5158725"/>
          </a:xfrm>
          <a:prstGeom prst="rect">
            <a:avLst/>
          </a:prstGeom>
        </p:spPr>
        <p:txBody>
          <a:bodyPr vert="horz" lIns="0" tIns="0" rIns="0" bIns="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8" name="Fußzeilenplatzhalter 4"/>
          <p:cNvSpPr>
            <a:spLocks noGrp="1"/>
          </p:cNvSpPr>
          <p:nvPr>
            <p:ph type="ftr" sz="quarter" idx="4"/>
          </p:nvPr>
        </p:nvSpPr>
        <p:spPr>
          <a:xfrm>
            <a:off x="472479" y="361154"/>
            <a:ext cx="4282000" cy="234488"/>
          </a:xfrm>
          <a:prstGeom prst="rect">
            <a:avLst/>
          </a:prstGeom>
        </p:spPr>
        <p:txBody>
          <a:bodyPr vert="horz" lIns="0" tIns="0" rIns="0" bIns="36000" rtlCol="0" anchor="b">
            <a:noAutofit/>
          </a:bodyPr>
          <a:lstStyle>
            <a:lvl1pPr algn="l">
              <a:defRPr sz="1000">
                <a:solidFill>
                  <a:schemeClr val="tx1"/>
                </a:solidFill>
                <a:latin typeface="Ubuntu" panose="020B0504030602030204" pitchFamily="34" charset="0"/>
              </a:defRPr>
            </a:lvl1pPr>
          </a:lstStyle>
          <a:p>
            <a:r>
              <a:rPr lang="en-US"/>
              <a:t>Theme of the presentation   |   dd.mm.yyyy</a:t>
            </a:r>
            <a:endParaRPr lang="de-DE"/>
          </a:p>
        </p:txBody>
      </p:sp>
      <p:sp>
        <p:nvSpPr>
          <p:cNvPr id="2" name="Foliennummernplatzhalter 287">
            <a:extLst>
              <a:ext uri="{FF2B5EF4-FFF2-40B4-BE49-F238E27FC236}">
                <a16:creationId xmlns:a16="http://schemas.microsoft.com/office/drawing/2014/main" id="{EEC01AA4-F0EB-661A-BBDA-97D67A615F5D}"/>
              </a:ext>
            </a:extLst>
          </p:cNvPr>
          <p:cNvSpPr>
            <a:spLocks noGrp="1"/>
          </p:cNvSpPr>
          <p:nvPr>
            <p:ph type="sldNum" sz="quarter" idx="5"/>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a:p>
        </p:txBody>
      </p:sp>
      <p:sp>
        <p:nvSpPr>
          <p:cNvPr id="3" name="Freihandform: Form 459">
            <a:extLst>
              <a:ext uri="{FF2B5EF4-FFF2-40B4-BE49-F238E27FC236}">
                <a16:creationId xmlns:a16="http://schemas.microsoft.com/office/drawing/2014/main" id="{86877E8E-393D-6C13-A638-8171E5B34E34}"/>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458813960"/>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110000"/>
      </a:lnSpc>
      <a:spcBef>
        <a:spcPts val="300"/>
      </a:spcBef>
      <a:spcAft>
        <a:spcPts val="0"/>
      </a:spcAft>
      <a:defRPr sz="1000" b="1" kern="1200">
        <a:solidFill>
          <a:schemeClr val="tx1"/>
        </a:solidFill>
        <a:latin typeface="+mj-lt"/>
        <a:ea typeface="+mn-ea"/>
        <a:cs typeface="+mn-cs"/>
      </a:defRPr>
    </a:lvl1pPr>
    <a:lvl2pPr marL="0" algn="l" defTabSz="914400" rtl="0" eaLnBrk="1" latinLnBrk="0" hangingPunct="1">
      <a:lnSpc>
        <a:spcPct val="110000"/>
      </a:lnSpc>
      <a:spcBef>
        <a:spcPts val="300"/>
      </a:spcBef>
      <a:spcAft>
        <a:spcPts val="0"/>
      </a:spcAft>
      <a:defRPr sz="1000" kern="1200">
        <a:solidFill>
          <a:schemeClr val="tx1"/>
        </a:solidFill>
        <a:latin typeface="+mn-lt"/>
        <a:ea typeface="+mn-ea"/>
        <a:cs typeface="+mn-cs"/>
      </a:defRPr>
    </a:lvl2pPr>
    <a:lvl3pPr marL="108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3pPr>
    <a:lvl4pPr marL="216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4pPr>
    <a:lvl5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5pPr>
    <a:lvl6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6pPr>
    <a:lvl7pPr marL="108000" indent="-216000" algn="l" defTabSz="914400" rtl="0" eaLnBrk="1" latinLnBrk="0" hangingPunct="1">
      <a:lnSpc>
        <a:spcPct val="110000"/>
      </a:lnSpc>
      <a:spcBef>
        <a:spcPts val="300"/>
      </a:spcBef>
      <a:spcAft>
        <a:spcPts val="0"/>
      </a:spcAft>
      <a:buClr>
        <a:schemeClr val="accent1"/>
      </a:buClr>
      <a:buFont typeface="+mj-lt"/>
      <a:buAutoNum type="arabicPeriod"/>
      <a:defRPr sz="1000" kern="1200">
        <a:solidFill>
          <a:schemeClr val="tx1"/>
        </a:solidFill>
        <a:latin typeface="+mn-lt"/>
        <a:ea typeface="+mn-ea"/>
        <a:cs typeface="+mn-cs"/>
      </a:defRPr>
    </a:lvl7pPr>
    <a:lvl8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8pPr>
    <a:lvl9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6" userDrawn="1">
          <p15:clr>
            <a:srgbClr val="F26B43"/>
          </p15:clr>
        </p15:guide>
        <p15:guide id="2" pos="214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r>
              <a:rPr lang="en-US" dirty="0"/>
              <a:t>his version is intended for customers migrating policies into the new Policies experience.</a:t>
            </a:r>
          </a:p>
        </p:txBody>
      </p:sp>
      <p:sp>
        <p:nvSpPr>
          <p:cNvPr id="4" name="Footer Placeholder 3"/>
          <p:cNvSpPr>
            <a:spLocks noGrp="1"/>
          </p:cNvSpPr>
          <p:nvPr>
            <p:ph type="ftr" sz="quarter" idx="4"/>
          </p:nvPr>
        </p:nvSpPr>
        <p:spPr/>
        <p:txBody>
          <a:bodyPr/>
          <a:lstStyle/>
          <a:p>
            <a:r>
              <a:rPr lang="en-US"/>
              <a:t>Theme of the presentation   |   dd.mm.yyyy</a:t>
            </a:r>
            <a:endParaRPr lang="de-DE"/>
          </a:p>
        </p:txBody>
      </p:sp>
      <p:sp>
        <p:nvSpPr>
          <p:cNvPr id="5" name="Slide Number Placeholder 4"/>
          <p:cNvSpPr>
            <a:spLocks noGrp="1"/>
          </p:cNvSpPr>
          <p:nvPr>
            <p:ph type="sldNum" sz="quarter" idx="5"/>
          </p:nvPr>
        </p:nvSpPr>
        <p:spPr/>
        <p:txBody>
          <a:bodyPr/>
          <a:lstStyle/>
          <a:p>
            <a:fld id="{44661A95-0089-4306-9485-D330C59FE3ED}" type="slidenum">
              <a:rPr lang="en-GB" smtClean="0"/>
              <a:pPr/>
              <a:t>2</a:t>
            </a:fld>
            <a:endParaRPr lang="en-GB"/>
          </a:p>
        </p:txBody>
      </p:sp>
    </p:spTree>
    <p:extLst>
      <p:ext uri="{BB962C8B-B14F-4D97-AF65-F5344CB8AC3E}">
        <p14:creationId xmlns:p14="http://schemas.microsoft.com/office/powerpoint/2010/main" val="32122975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79ED15-1D69-362C-017A-7080D4E781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FB7747-F55B-11FE-4C6D-C7BDD6934E27}"/>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C7731BBA-A460-32F2-50B1-E085203A9B2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17928B9-6A0F-35F6-9994-8DCAEF4B0298}"/>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1</a:t>
            </a:fld>
            <a:endParaRPr lang="de-DE"/>
          </a:p>
        </p:txBody>
      </p:sp>
      <p:sp>
        <p:nvSpPr>
          <p:cNvPr id="5" name="Footer Placeholder 4">
            <a:extLst>
              <a:ext uri="{FF2B5EF4-FFF2-40B4-BE49-F238E27FC236}">
                <a16:creationId xmlns:a16="http://schemas.microsoft.com/office/drawing/2014/main" id="{3297B23B-588B-0390-99C7-0A648182042A}"/>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9483458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D09CED-AC6F-CC98-DDC8-6DE44F5981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7CAEFC-7D90-C993-FE86-B66FC0560FED}"/>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4F32E020-B6A6-59D7-FFDF-DE32DCBCFBD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1CD748D-3357-D187-583E-8FAB12749F1E}"/>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2</a:t>
            </a:fld>
            <a:endParaRPr lang="de-DE"/>
          </a:p>
        </p:txBody>
      </p:sp>
      <p:sp>
        <p:nvSpPr>
          <p:cNvPr id="5" name="Footer Placeholder 4">
            <a:extLst>
              <a:ext uri="{FF2B5EF4-FFF2-40B4-BE49-F238E27FC236}">
                <a16:creationId xmlns:a16="http://schemas.microsoft.com/office/drawing/2014/main" id="{E0D2EDF5-F081-623A-8902-86A0C7DBC8C8}"/>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51703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a:t>Theme of the presentation   |   dd.mm.yyyy</a:t>
            </a:r>
            <a:endParaRPr lang="de-DE"/>
          </a:p>
        </p:txBody>
      </p:sp>
      <p:sp>
        <p:nvSpPr>
          <p:cNvPr id="5" name="Slide Number Placeholder 4"/>
          <p:cNvSpPr>
            <a:spLocks noGrp="1"/>
          </p:cNvSpPr>
          <p:nvPr>
            <p:ph type="sldNum" sz="quarter" idx="5"/>
          </p:nvPr>
        </p:nvSpPr>
        <p:spPr/>
        <p:txBody>
          <a:bodyPr/>
          <a:lstStyle/>
          <a:p>
            <a:fld id="{44661A95-0089-4306-9485-D330C59FE3ED}" type="slidenum">
              <a:rPr lang="en-GB" smtClean="0"/>
              <a:pPr/>
              <a:t>13</a:t>
            </a:fld>
            <a:endParaRPr lang="en-GB"/>
          </a:p>
        </p:txBody>
      </p:sp>
    </p:spTree>
    <p:extLst>
      <p:ext uri="{BB962C8B-B14F-4D97-AF65-F5344CB8AC3E}">
        <p14:creationId xmlns:p14="http://schemas.microsoft.com/office/powerpoint/2010/main" val="31278173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B53D41-4195-34ED-D52A-A6BFDA9533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C704DA-7664-4B9A-F7A9-5A0F2C6A2FCF}"/>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9D30CF12-853F-14F4-52ED-DF2BF7A82C2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C72DF4E-C2B4-0267-204D-EE6FE76B4309}"/>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2</a:t>
            </a:fld>
            <a:endParaRPr lang="de-DE"/>
          </a:p>
        </p:txBody>
      </p:sp>
      <p:sp>
        <p:nvSpPr>
          <p:cNvPr id="5" name="Footer Placeholder 4">
            <a:extLst>
              <a:ext uri="{FF2B5EF4-FFF2-40B4-BE49-F238E27FC236}">
                <a16:creationId xmlns:a16="http://schemas.microsoft.com/office/drawing/2014/main" id="{55CD281A-A0AE-F71D-12E1-A3A4CE84F3E7}"/>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9987456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1A1CFD-AD27-DE20-4546-69CCCF4822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56C360-F1D9-D10C-D1D0-6BAFD5551D7C}"/>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F6B6A760-EA83-2BD8-7FC8-677DFAB381A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81CBBBA-7BE9-2361-7D15-06CC117F5CDF}"/>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6</a:t>
            </a:fld>
            <a:endParaRPr lang="de-DE"/>
          </a:p>
        </p:txBody>
      </p:sp>
      <p:sp>
        <p:nvSpPr>
          <p:cNvPr id="5" name="Footer Placeholder 4">
            <a:extLst>
              <a:ext uri="{FF2B5EF4-FFF2-40B4-BE49-F238E27FC236}">
                <a16:creationId xmlns:a16="http://schemas.microsoft.com/office/drawing/2014/main" id="{4B019490-7B7B-3A60-4CC7-D228E2BE7A69}"/>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27788518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5FA74E-081E-EA0F-7CFE-77CCB3674B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68047A-FDBE-E780-04EB-5367C70FA7A9}"/>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8E697C53-AD7C-91F3-3900-B345828EC13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1C50601-F4BE-988C-E4B7-69A1EEF4E975}"/>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1</a:t>
            </a:fld>
            <a:endParaRPr lang="de-DE"/>
          </a:p>
        </p:txBody>
      </p:sp>
      <p:sp>
        <p:nvSpPr>
          <p:cNvPr id="5" name="Footer Placeholder 4">
            <a:extLst>
              <a:ext uri="{FF2B5EF4-FFF2-40B4-BE49-F238E27FC236}">
                <a16:creationId xmlns:a16="http://schemas.microsoft.com/office/drawing/2014/main" id="{ACBB0F2B-4AE7-4CEA-F128-F815C2C080D9}"/>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9427110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3806643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3F5F41-8C23-C993-1C8A-C55E9A253E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A51D75-0184-DD4B-D0C8-C22551F37D00}"/>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ED89B4E8-2699-3BFD-25DB-E0D54297C23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CF0597D-3326-364F-C60F-895C1A71FDC1}"/>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4</a:t>
            </a:fld>
            <a:endParaRPr lang="de-DE"/>
          </a:p>
        </p:txBody>
      </p:sp>
      <p:sp>
        <p:nvSpPr>
          <p:cNvPr id="5" name="Footer Placeholder 4">
            <a:extLst>
              <a:ext uri="{FF2B5EF4-FFF2-40B4-BE49-F238E27FC236}">
                <a16:creationId xmlns:a16="http://schemas.microsoft.com/office/drawing/2014/main" id="{B4B536DF-8454-F0BB-FB5D-F2B45E1D3263}"/>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9594776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1281B6-651C-B8DE-DDCA-046B601019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AEE2F0-3E91-D15C-7879-F539ADAE5D96}"/>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4442063D-1C80-602A-602F-74054CCBD71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3DB7CBB-F633-AA1C-A0C5-666DDCBEFF9C}"/>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5</a:t>
            </a:fld>
            <a:endParaRPr lang="de-DE"/>
          </a:p>
        </p:txBody>
      </p:sp>
      <p:sp>
        <p:nvSpPr>
          <p:cNvPr id="5" name="Footer Placeholder 4">
            <a:extLst>
              <a:ext uri="{FF2B5EF4-FFF2-40B4-BE49-F238E27FC236}">
                <a16:creationId xmlns:a16="http://schemas.microsoft.com/office/drawing/2014/main" id="{C75592E1-E0F5-3971-7AC5-AC35E6EF76F6}"/>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4105978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718CCA-32ED-71F7-2110-F613287918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8873EF-F14E-70D9-AAA1-0B01C6C13AE5}"/>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33E7C20F-FEFB-DA0A-1A41-2A87B09C7F2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BDE3406-8061-6B53-6E2A-5DF4A0C27896}"/>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6</a:t>
            </a:fld>
            <a:endParaRPr lang="de-DE"/>
          </a:p>
        </p:txBody>
      </p:sp>
      <p:sp>
        <p:nvSpPr>
          <p:cNvPr id="5" name="Footer Placeholder 4">
            <a:extLst>
              <a:ext uri="{FF2B5EF4-FFF2-40B4-BE49-F238E27FC236}">
                <a16:creationId xmlns:a16="http://schemas.microsoft.com/office/drawing/2014/main" id="{F9D4B735-FB8E-5D9D-569A-C43DC29C1C3F}"/>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27674885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3E3FAA-D80D-C0D6-A6C7-0F410ACC69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F71D6D-D39D-F200-478F-AD401066EABB}"/>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AABEA616-2E8C-4E25-B93D-3C37FC5C048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8F9A670-64AC-CCCC-F4D0-FA3E1A950F4D}"/>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7</a:t>
            </a:fld>
            <a:endParaRPr lang="de-DE"/>
          </a:p>
        </p:txBody>
      </p:sp>
      <p:sp>
        <p:nvSpPr>
          <p:cNvPr id="5" name="Footer Placeholder 4">
            <a:extLst>
              <a:ext uri="{FF2B5EF4-FFF2-40B4-BE49-F238E27FC236}">
                <a16:creationId xmlns:a16="http://schemas.microsoft.com/office/drawing/2014/main" id="{BA4A6395-2407-B9D4-F2A7-5B3D8678063D}"/>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9085640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a:t>Theme of the presentation   |   dd.mm.yyyy</a:t>
            </a:r>
            <a:endParaRPr lang="de-DE"/>
          </a:p>
        </p:txBody>
      </p:sp>
      <p:sp>
        <p:nvSpPr>
          <p:cNvPr id="5" name="Slide Number Placeholder 4"/>
          <p:cNvSpPr>
            <a:spLocks noGrp="1"/>
          </p:cNvSpPr>
          <p:nvPr>
            <p:ph type="sldNum" sz="quarter" idx="5"/>
          </p:nvPr>
        </p:nvSpPr>
        <p:spPr/>
        <p:txBody>
          <a:bodyPr/>
          <a:lstStyle/>
          <a:p>
            <a:fld id="{44661A95-0089-4306-9485-D330C59FE3ED}" type="slidenum">
              <a:rPr lang="en-GB" smtClean="0"/>
              <a:pPr/>
              <a:t>8</a:t>
            </a:fld>
            <a:endParaRPr lang="en-GB"/>
          </a:p>
        </p:txBody>
      </p:sp>
    </p:spTree>
    <p:extLst>
      <p:ext uri="{BB962C8B-B14F-4D97-AF65-F5344CB8AC3E}">
        <p14:creationId xmlns:p14="http://schemas.microsoft.com/office/powerpoint/2010/main" val="13193343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EF5DE8-885F-D937-186D-BCA8A349E8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0679D7-7712-D5A7-D8DB-AA1D43408FF8}"/>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12E620E2-9CFD-814A-6DD9-46102B87EE4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FB6C70D-20A0-8DFE-0A75-C319064F2B55}"/>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9</a:t>
            </a:fld>
            <a:endParaRPr lang="de-DE"/>
          </a:p>
        </p:txBody>
      </p:sp>
      <p:sp>
        <p:nvSpPr>
          <p:cNvPr id="5" name="Footer Placeholder 4">
            <a:extLst>
              <a:ext uri="{FF2B5EF4-FFF2-40B4-BE49-F238E27FC236}">
                <a16:creationId xmlns:a16="http://schemas.microsoft.com/office/drawing/2014/main" id="{EB1949F4-2DB3-F58B-4054-498D0D4B4B89}"/>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9529342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404B08-012D-A3FE-BDFF-24C6BDF07A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9A5ED4-AD77-F7A0-5C02-333019920739}"/>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74E64EE7-CFDB-8735-8FA5-87A3FDC4022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1486F22-429A-116D-0A0F-2ED755EA69F7}"/>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0</a:t>
            </a:fld>
            <a:endParaRPr lang="de-DE"/>
          </a:p>
        </p:txBody>
      </p:sp>
      <p:sp>
        <p:nvSpPr>
          <p:cNvPr id="5" name="Footer Placeholder 4">
            <a:extLst>
              <a:ext uri="{FF2B5EF4-FFF2-40B4-BE49-F238E27FC236}">
                <a16:creationId xmlns:a16="http://schemas.microsoft.com/office/drawing/2014/main" id="{727FC039-40DE-794F-C254-A78472B2B299}"/>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5821383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3975766"/>
            <a:ext cx="4895850" cy="569387"/>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a:t>TITLE IN ONE LINE</a:t>
            </a:r>
          </a:p>
        </p:txBody>
      </p:sp>
      <p:sp>
        <p:nvSpPr>
          <p:cNvPr id="3" name="Untertitel 2"/>
          <p:cNvSpPr>
            <a:spLocks noGrp="1"/>
          </p:cNvSpPr>
          <p:nvPr>
            <p:ph type="subTitle" idx="1" hasCustomPrompt="1"/>
          </p:nvPr>
        </p:nvSpPr>
        <p:spPr bwMode="gray">
          <a:xfrm>
            <a:off x="1092200" y="4761148"/>
            <a:ext cx="4895850" cy="1296752"/>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err="1"/>
              <a:t>Subtitle</a:t>
            </a:r>
            <a:r>
              <a:rPr lang="de-DE" noProof="0"/>
              <a:t> and </a:t>
            </a:r>
            <a:r>
              <a:rPr lang="de-DE" noProof="0" err="1"/>
              <a:t>other</a:t>
            </a:r>
            <a:r>
              <a:rPr lang="de-DE" noProof="0"/>
              <a:t> </a:t>
            </a:r>
            <a:r>
              <a:rPr lang="de-DE" noProof="0" err="1"/>
              <a:t>information</a:t>
            </a:r>
            <a:r>
              <a:rPr lang="de-DE" noProof="0"/>
              <a:t> </a:t>
            </a:r>
            <a:br>
              <a:rPr lang="de-DE" noProof="0"/>
            </a:br>
            <a:r>
              <a:rPr lang="de-DE" noProof="0"/>
              <a:t>Place &amp; Date in </a:t>
            </a:r>
            <a:r>
              <a:rPr lang="de-DE" noProof="0" err="1"/>
              <a:t>second</a:t>
            </a:r>
            <a:r>
              <a:rPr lang="de-DE" noProof="0"/>
              <a:t> </a:t>
            </a:r>
            <a:r>
              <a:rPr lang="de-DE" noProof="0" err="1"/>
              <a:t>text</a:t>
            </a:r>
            <a:r>
              <a:rPr lang="de-DE" noProof="0"/>
              <a:t> </a:t>
            </a:r>
            <a:r>
              <a:rPr lang="de-DE" noProof="0" err="1"/>
              <a:t>level</a:t>
            </a:r>
            <a:endParaRPr lang="de-DE" noProof="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3189600"/>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381129055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6">
    <p:bg>
      <p:bgPr>
        <a:solidFill>
          <a:srgbClr val="48E9A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386598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7">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accent1"/>
                </a:solidFill>
                <a:latin typeface="Barlow ExtraBold" pitchFamily="2" charset="77"/>
              </a:defRPr>
            </a:lvl1pPr>
            <a:lvl2pPr marL="0" indent="0">
              <a:lnSpc>
                <a:spcPct val="110000"/>
              </a:lnSpc>
              <a:spcBef>
                <a:spcPts val="0"/>
              </a:spcBef>
              <a:spcAft>
                <a:spcPts val="0"/>
              </a:spcAft>
              <a:buNone/>
              <a:defRPr sz="2000">
                <a:solidFill>
                  <a:schemeClr val="accent1"/>
                </a:solidFill>
                <a:latin typeface="+mj-lt"/>
              </a:defRPr>
            </a:lvl2pPr>
            <a:lvl3pPr marL="0" indent="0">
              <a:lnSpc>
                <a:spcPct val="110000"/>
              </a:lnSpc>
              <a:spcBef>
                <a:spcPts val="0"/>
              </a:spcBef>
              <a:spcAft>
                <a:spcPts val="0"/>
              </a:spcAft>
              <a:buNone/>
              <a:defRPr sz="2000">
                <a:solidFill>
                  <a:schemeClr val="accent1"/>
                </a:solidFill>
                <a:latin typeface="+mj-lt"/>
              </a:defRPr>
            </a:lvl3pPr>
            <a:lvl4pPr marL="0" indent="0">
              <a:lnSpc>
                <a:spcPct val="110000"/>
              </a:lnSpc>
              <a:spcBef>
                <a:spcPts val="0"/>
              </a:spcBef>
              <a:spcAft>
                <a:spcPts val="0"/>
              </a:spcAft>
              <a:buNone/>
              <a:defRPr sz="2000">
                <a:solidFill>
                  <a:schemeClr val="accent1"/>
                </a:solidFill>
                <a:latin typeface="+mj-lt"/>
              </a:defRPr>
            </a:lvl4pPr>
            <a:lvl5pPr marL="0" indent="0">
              <a:lnSpc>
                <a:spcPct val="110000"/>
              </a:lnSpc>
              <a:spcBef>
                <a:spcPts val="0"/>
              </a:spcBef>
              <a:spcAft>
                <a:spcPts val="0"/>
              </a:spcAft>
              <a:buNone/>
              <a:defRPr sz="2000">
                <a:solidFill>
                  <a:schemeClr val="accent1"/>
                </a:solidFill>
                <a:latin typeface="+mj-lt"/>
              </a:defRPr>
            </a:lvl5pPr>
            <a:lvl6pPr marL="0" indent="0">
              <a:lnSpc>
                <a:spcPct val="110000"/>
              </a:lnSpc>
              <a:spcBef>
                <a:spcPts val="0"/>
              </a:spcBef>
              <a:spcAft>
                <a:spcPts val="0"/>
              </a:spcAft>
              <a:buNone/>
              <a:defRPr sz="2000">
                <a:solidFill>
                  <a:schemeClr val="accent1"/>
                </a:solidFill>
                <a:latin typeface="+mj-lt"/>
              </a:defRPr>
            </a:lvl6pPr>
            <a:lvl7pPr marL="0" indent="0">
              <a:lnSpc>
                <a:spcPct val="110000"/>
              </a:lnSpc>
              <a:spcBef>
                <a:spcPts val="0"/>
              </a:spcBef>
              <a:spcAft>
                <a:spcPts val="0"/>
              </a:spcAft>
              <a:buNone/>
              <a:defRPr sz="2000">
                <a:solidFill>
                  <a:schemeClr val="accent1"/>
                </a:solidFill>
                <a:latin typeface="+mj-lt"/>
              </a:defRPr>
            </a:lvl7pPr>
            <a:lvl8pPr marL="0" indent="0">
              <a:lnSpc>
                <a:spcPct val="110000"/>
              </a:lnSpc>
              <a:spcBef>
                <a:spcPts val="0"/>
              </a:spcBef>
              <a:spcAft>
                <a:spcPts val="0"/>
              </a:spcAft>
              <a:buNone/>
              <a:defRPr sz="2000">
                <a:solidFill>
                  <a:schemeClr val="accent1"/>
                </a:solidFill>
                <a:latin typeface="+mj-lt"/>
              </a:defRPr>
            </a:lvl8pPr>
            <a:lvl9pPr marL="0" indent="0">
              <a:lnSpc>
                <a:spcPct val="110000"/>
              </a:lnSpc>
              <a:spcBef>
                <a:spcPts val="0"/>
              </a:spcBef>
              <a:spcAft>
                <a:spcPts val="0"/>
              </a:spcAft>
              <a:buNone/>
              <a:defRPr sz="2000">
                <a:solidFill>
                  <a:schemeClr val="accent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rgbClr val="9BA4BF"/>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accent1"/>
                </a:solidFill>
              </a:defRPr>
            </a:lvl1pPr>
          </a:lstStyle>
          <a:p>
            <a:r>
              <a:rPr lang="de-DE"/>
              <a:t>00</a:t>
            </a:r>
          </a:p>
        </p:txBody>
      </p:sp>
    </p:spTree>
    <p:extLst>
      <p:ext uri="{BB962C8B-B14F-4D97-AF65-F5344CB8AC3E}">
        <p14:creationId xmlns:p14="http://schemas.microsoft.com/office/powerpoint/2010/main" val="379346096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876"/>
            <a:ext cx="10007600" cy="3745024"/>
          </a:xfrm>
          <a:prstGeom prst="rect">
            <a:avLst/>
          </a:prstGeom>
        </p:spPr>
        <p:txBody>
          <a:bodyPr/>
          <a:lstStyle>
            <a:lvl1pPr>
              <a:lnSpc>
                <a:spcPct val="110000"/>
              </a:lnSpc>
              <a:spcAft>
                <a:spcPts val="600"/>
              </a:spcAft>
              <a:defRPr sz="2000" baseline="0"/>
            </a:lvl1pPr>
            <a:lvl2pPr>
              <a:lnSpc>
                <a:spcPct val="110000"/>
              </a:lnSpc>
              <a:spcAft>
                <a:spcPts val="600"/>
              </a:spcAft>
              <a:defRPr sz="2000"/>
            </a:lvl2pPr>
            <a:lvl3pPr marL="266700" indent="-266700">
              <a:lnSpc>
                <a:spcPct val="110000"/>
              </a:lnSpc>
              <a:spcAft>
                <a:spcPts val="600"/>
              </a:spcAft>
              <a:buFontTx/>
              <a:buBlip>
                <a:blip r:embed="rId2"/>
              </a:buBlip>
              <a:defRPr sz="2000"/>
            </a:lvl3pPr>
            <a:lvl4pPr marL="542925" indent="-276225">
              <a:lnSpc>
                <a:spcPct val="110000"/>
              </a:lnSpc>
              <a:spcAft>
                <a:spcPts val="600"/>
              </a:spcAft>
              <a:buFontTx/>
              <a:buBlip>
                <a:blip r:embed="rId2"/>
              </a:buBlip>
              <a:defRPr sz="2000"/>
            </a:lvl4pPr>
            <a:lvl5pPr>
              <a:lnSpc>
                <a:spcPct val="110000"/>
              </a:lnSpc>
              <a:spcAft>
                <a:spcPts val="600"/>
              </a:spcAft>
              <a:defRPr sz="2500"/>
            </a:lvl5pPr>
            <a:lvl6pPr marL="361950" indent="-361950">
              <a:lnSpc>
                <a:spcPct val="110000"/>
              </a:lnSpc>
              <a:spcAft>
                <a:spcPts val="600"/>
              </a:spcAft>
              <a:buFontTx/>
              <a:buBlip>
                <a:blip r:embed="rId2"/>
              </a:buBlip>
              <a:defRPr sz="2500"/>
            </a:lvl6pPr>
            <a:lvl7pPr>
              <a:lnSpc>
                <a:spcPct val="110000"/>
              </a:lnSpc>
              <a:spcAft>
                <a:spcPts val="600"/>
              </a:spcAft>
              <a:buClr>
                <a:schemeClr val="accent1"/>
              </a:buClr>
              <a:defRPr sz="2000"/>
            </a:lvl7pPr>
            <a:lvl8pPr marL="628650" indent="-268288">
              <a:lnSpc>
                <a:spcPct val="110000"/>
              </a:lnSpc>
              <a:spcAft>
                <a:spcPts val="600"/>
              </a:spcAft>
              <a:buFontTx/>
              <a:buBlip>
                <a:blip r:embed="rId2"/>
              </a:buBlip>
              <a:defRPr sz="2000"/>
            </a:lvl8pPr>
            <a:lvl9pPr marL="895350" indent="-266700">
              <a:lnSpc>
                <a:spcPct val="110000"/>
              </a:lnSpc>
              <a:spcAft>
                <a:spcPts val="600"/>
              </a:spcAft>
              <a:buFontTx/>
              <a:buBlip>
                <a:blip r:embed="rId2"/>
              </a:buBlip>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p:txBody>
          <a:bodyPr/>
          <a:lstStyle>
            <a:lvl1pPr>
              <a:defRPr/>
            </a:lvl1pPr>
          </a:lstStyle>
          <a:p>
            <a:r>
              <a:rPr lang="de-DE" noProof="0"/>
              <a:t>Headline (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1171F0A7-5B6C-2480-B2B4-377A84CFC222}"/>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1593259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amp; long Headlin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528292"/>
            <a:ext cx="10007600" cy="3529608"/>
          </a:xfrm>
          <a:prstGeom prst="rect">
            <a:avLst/>
          </a:prstGeom>
        </p:spPr>
        <p:txBody>
          <a:bodyPr>
            <a:normAutofit/>
          </a:bodyPr>
          <a:lstStyle>
            <a:lvl1pPr>
              <a:lnSpc>
                <a:spcPct val="110000"/>
              </a:lnSpc>
              <a:spcAft>
                <a:spcPts val="600"/>
              </a:spcAft>
              <a:defRPr sz="2000" baseline="0"/>
            </a:lvl1pPr>
            <a:lvl2pPr>
              <a:lnSpc>
                <a:spcPct val="110000"/>
              </a:lnSpc>
              <a:spcAft>
                <a:spcPts val="600"/>
              </a:spcAft>
              <a:defRPr sz="2000"/>
            </a:lvl2pPr>
            <a:lvl3pPr>
              <a:lnSpc>
                <a:spcPct val="110000"/>
              </a:lnSpc>
              <a:spcAft>
                <a:spcPts val="600"/>
              </a:spcAft>
              <a:defRPr sz="2000"/>
            </a:lvl3pPr>
            <a:lvl4pPr>
              <a:lnSpc>
                <a:spcPct val="110000"/>
              </a:lnSpc>
              <a:spcAft>
                <a:spcPts val="600"/>
              </a:spcAft>
              <a:defRPr sz="2000"/>
            </a:lvl4pPr>
            <a:lvl5pPr>
              <a:lnSpc>
                <a:spcPct val="110000"/>
              </a:lnSpc>
              <a:spcAft>
                <a:spcPts val="600"/>
              </a:spcAft>
              <a:defRPr sz="2500"/>
            </a:lvl5pPr>
            <a:lvl6pPr>
              <a:lnSpc>
                <a:spcPct val="110000"/>
              </a:lnSpc>
              <a:spcAft>
                <a:spcPts val="600"/>
              </a:spcAft>
              <a:defRPr sz="2500"/>
            </a:lvl6pPr>
            <a:lvl7pPr>
              <a:lnSpc>
                <a:spcPct val="110000"/>
              </a:lnSpc>
              <a:spcAft>
                <a:spcPts val="600"/>
              </a:spcAft>
              <a:defRPr sz="2000"/>
            </a:lvl7pPr>
            <a:lvl8pPr>
              <a:lnSpc>
                <a:spcPct val="110000"/>
              </a:lnSpc>
              <a:spcAft>
                <a:spcPts val="600"/>
              </a:spcAft>
              <a:defRPr sz="2000"/>
            </a:lvl8pPr>
            <a:lvl9pPr>
              <a:lnSpc>
                <a:spcPct val="110000"/>
              </a:lnSpc>
              <a:spcAft>
                <a:spcPts val="600"/>
              </a:spcAft>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a:xfrm>
            <a:off x="1092200" y="789687"/>
            <a:ext cx="10007600" cy="1055137"/>
          </a:xfrm>
        </p:spPr>
        <p:txBody>
          <a:bodyPr>
            <a:normAutofit/>
          </a:bodyPr>
          <a:lstStyle>
            <a:lvl1pPr>
              <a:defRPr/>
            </a:lvl1pPr>
          </a:lstStyle>
          <a:p>
            <a:r>
              <a:rPr lang="de-DE" noProof="0"/>
              <a:t>Headline </a:t>
            </a:r>
            <a:br>
              <a:rPr lang="de-DE" noProof="0"/>
            </a:br>
            <a:r>
              <a:rPr lang="de-DE" noProof="0"/>
              <a:t>(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931361"/>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BFB8CA55-5B3E-11D0-6D08-83A1C8AF7289}"/>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213859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s ">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2312988"/>
            <a:ext cx="4824413" cy="3744912"/>
          </a:xfrm>
          <a:prstGeom prst="rect">
            <a:avLst/>
          </a:prstGeom>
        </p:spPr>
        <p:txBody>
          <a:bodyPr>
            <a:norm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6275388" y="2312988"/>
            <a:ext cx="4824412" cy="3744912"/>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6FD39134-45F2-8CCF-8D2C-0179C43E6D65}"/>
              </a:ext>
            </a:extLst>
          </p:cNvPr>
          <p:cNvSpPr>
            <a:spLocks noGrp="1"/>
          </p:cNvSpPr>
          <p:nvPr>
            <p:ph type="ftr" sz="quarter" idx="10"/>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105C2B0F-86E7-5643-93AA-5CEF72C3A9B5}"/>
              </a:ext>
            </a:extLst>
          </p:cNvPr>
          <p:cNvSpPr>
            <a:spLocks noGrp="1"/>
          </p:cNvSpPr>
          <p:nvPr>
            <p:ph type="title" hasCustomPrompt="1"/>
          </p:nvPr>
        </p:nvSpPr>
        <p:spPr bwMode="gray"/>
        <p:txBody>
          <a:bodyPr>
            <a:normAutofit/>
          </a:bodyPr>
          <a:lstStyle/>
          <a:p>
            <a:r>
              <a:rPr lang="de-DE" noProof="0"/>
              <a:t>Headline (max. 2 lines)</a:t>
            </a:r>
            <a:endParaRPr lang="de-DE"/>
          </a:p>
        </p:txBody>
      </p:sp>
      <p:sp>
        <p:nvSpPr>
          <p:cNvPr id="11" name="Untertitel 2">
            <a:extLst>
              <a:ext uri="{FF2B5EF4-FFF2-40B4-BE49-F238E27FC236}">
                <a16:creationId xmlns:a16="http://schemas.microsoft.com/office/drawing/2014/main" id="{01474A71-2520-2B50-369F-130BB95FF6BE}"/>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259B4C30-12CD-2EB4-C13B-0CA8A7BFC2CE}"/>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51225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1628776"/>
            <a:ext cx="3095588"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4547828" y="1628776"/>
            <a:ext cx="3096344"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7" name="Inhaltsplatzhalter 3"/>
          <p:cNvSpPr>
            <a:spLocks noGrp="1"/>
          </p:cNvSpPr>
          <p:nvPr>
            <p:ph sz="half" idx="12" hasCustomPrompt="1"/>
          </p:nvPr>
        </p:nvSpPr>
        <p:spPr bwMode="gray">
          <a:xfrm>
            <a:off x="8004212" y="1628775"/>
            <a:ext cx="3095988" cy="4428030"/>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E89E1A06-8DAE-5935-FDDF-892A7C92FAA2}"/>
              </a:ext>
            </a:extLst>
          </p:cNvPr>
          <p:cNvSpPr>
            <a:spLocks noGrp="1"/>
          </p:cNvSpPr>
          <p:nvPr>
            <p:ph type="ftr" sz="quarter" idx="13"/>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F27B1B10-8EAF-4C5F-9EC2-A2F03DED5B79}"/>
              </a:ext>
            </a:extLst>
          </p:cNvPr>
          <p:cNvSpPr>
            <a:spLocks noGrp="1"/>
          </p:cNvSpPr>
          <p:nvPr>
            <p:ph type="title" hasCustomPrompt="1"/>
          </p:nvPr>
        </p:nvSpPr>
        <p:spPr bwMode="gray"/>
        <p:txBody>
          <a:bodyPr/>
          <a:lstStyle/>
          <a:p>
            <a:r>
              <a:rPr lang="de-DE" noProof="0"/>
              <a:t>Headline (max. 2 lines)</a:t>
            </a:r>
            <a:endParaRPr lang="de-DE"/>
          </a:p>
        </p:txBody>
      </p:sp>
      <p:sp>
        <p:nvSpPr>
          <p:cNvPr id="2" name="Slide Number Placeholder 1">
            <a:extLst>
              <a:ext uri="{FF2B5EF4-FFF2-40B4-BE49-F238E27FC236}">
                <a16:creationId xmlns:a16="http://schemas.microsoft.com/office/drawing/2014/main" id="{88D51BDA-69CF-1532-A5F8-978B7EE259A8}"/>
              </a:ext>
            </a:extLst>
          </p:cNvPr>
          <p:cNvSpPr>
            <a:spLocks noGrp="1"/>
          </p:cNvSpPr>
          <p:nvPr>
            <p:ph type="sldNum" sz="quarter" idx="14"/>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9969820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747941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FEAD5AD3-62CE-EFD3-6595-ADDFF077A488}"/>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Title 1">
            <a:extLst>
              <a:ext uri="{FF2B5EF4-FFF2-40B4-BE49-F238E27FC236}">
                <a16:creationId xmlns:a16="http://schemas.microsoft.com/office/drawing/2014/main" id="{F5FB7EC7-7C5A-3E99-97D6-E3163BB33E82}"/>
              </a:ext>
            </a:extLst>
          </p:cNvPr>
          <p:cNvSpPr>
            <a:spLocks noGrp="1"/>
          </p:cNvSpPr>
          <p:nvPr>
            <p:ph type="title" hasCustomPrompt="1"/>
          </p:nvPr>
        </p:nvSpPr>
        <p:spPr/>
        <p:txBody>
          <a:bodyPr>
            <a:normAutofit/>
          </a:bodyPr>
          <a:lstStyle/>
          <a:p>
            <a:r>
              <a:rPr lang="de-DE" noProof="0"/>
              <a:t>Headline (max. 2 lines) </a:t>
            </a:r>
            <a:endParaRPr lang="de-DE"/>
          </a:p>
        </p:txBody>
      </p:sp>
      <p:sp>
        <p:nvSpPr>
          <p:cNvPr id="6" name="Slide Number Placeholder 5">
            <a:extLst>
              <a:ext uri="{FF2B5EF4-FFF2-40B4-BE49-F238E27FC236}">
                <a16:creationId xmlns:a16="http://schemas.microsoft.com/office/drawing/2014/main" id="{D2D491E3-A58B-2BBE-4C22-6A54D9006C70}"/>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307952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E88D79A-9C7F-D07D-DF47-6368028F561B}"/>
              </a:ext>
            </a:extLst>
          </p:cNvPr>
          <p:cNvSpPr>
            <a:spLocks noGrp="1"/>
          </p:cNvSpPr>
          <p:nvPr>
            <p:ph type="ftr" sz="quarter" idx="10"/>
          </p:nvPr>
        </p:nvSpPr>
        <p:spPr bwMode="gray"/>
        <p:txBody>
          <a:bodyPr/>
          <a:lstStyle/>
          <a:p>
            <a:r>
              <a:rPr lang="de-DE"/>
              <a:t>Date dd.mm.yyyy  |  Security label</a:t>
            </a:r>
          </a:p>
        </p:txBody>
      </p:sp>
      <p:sp>
        <p:nvSpPr>
          <p:cNvPr id="4" name="Slide Number Placeholder 3">
            <a:extLst>
              <a:ext uri="{FF2B5EF4-FFF2-40B4-BE49-F238E27FC236}">
                <a16:creationId xmlns:a16="http://schemas.microsoft.com/office/drawing/2014/main" id="{EAAF5096-0FAB-B4B1-B7EF-A757EAC1E898}"/>
              </a:ext>
            </a:extLst>
          </p:cNvPr>
          <p:cNvSpPr>
            <a:spLocks noGrp="1"/>
          </p:cNvSpPr>
          <p:nvPr>
            <p:ph type="sldNum" sz="quarter" idx="11"/>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997567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5411924" y="1628775"/>
            <a:ext cx="5687876"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9" name="Bildplatzhalter 5"/>
          <p:cNvSpPr>
            <a:spLocks noGrp="1"/>
          </p:cNvSpPr>
          <p:nvPr>
            <p:ph type="pic" sz="quarter" idx="13" hasCustomPrompt="1"/>
          </p:nvPr>
        </p:nvSpPr>
        <p:spPr bwMode="gray">
          <a:xfrm>
            <a:off x="1092200" y="1628775"/>
            <a:ext cx="3959684" cy="4429125"/>
          </a:xfrm>
          <a:prstGeom prst="roundRect">
            <a:avLst>
              <a:gd name="adj" fmla="val 3554"/>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DBCB3381-8899-0A65-3C16-227D1E059494}"/>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405069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righ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988"/>
            <a:ext cx="4823780" cy="3744912"/>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9" name="Bildplatzhalter 5"/>
          <p:cNvSpPr>
            <a:spLocks noGrp="1"/>
          </p:cNvSpPr>
          <p:nvPr>
            <p:ph type="pic" sz="quarter" idx="13" hasCustomPrompt="1"/>
          </p:nvPr>
        </p:nvSpPr>
        <p:spPr bwMode="gray">
          <a:xfrm>
            <a:off x="6276020" y="908050"/>
            <a:ext cx="4823780" cy="5149851"/>
          </a:xfrm>
          <a:prstGeom prst="roundRect">
            <a:avLst>
              <a:gd name="adj" fmla="val 2905"/>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a:xfrm>
            <a:off x="1092200" y="789687"/>
            <a:ext cx="4823780" cy="1127145"/>
          </a:xfrm>
        </p:spPr>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E2C54E44-332C-8676-B6F4-9490DBA83BCF}"/>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755273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3 lines">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2836993"/>
            <a:ext cx="4895850" cy="1708160"/>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a:t>TITLE OF THE PRESENTATION IN MAXIMAL THREE LINES</a:t>
            </a:r>
          </a:p>
        </p:txBody>
      </p:sp>
      <p:sp>
        <p:nvSpPr>
          <p:cNvPr id="3" name="Untertitel 2"/>
          <p:cNvSpPr>
            <a:spLocks noGrp="1"/>
          </p:cNvSpPr>
          <p:nvPr>
            <p:ph type="subTitle" idx="1" hasCustomPrompt="1"/>
          </p:nvPr>
        </p:nvSpPr>
        <p:spPr bwMode="gray">
          <a:xfrm>
            <a:off x="1092200" y="4761146"/>
            <a:ext cx="4895850" cy="1296753"/>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err="1"/>
              <a:t>Subtitle</a:t>
            </a:r>
            <a:r>
              <a:rPr lang="de-DE" noProof="0"/>
              <a:t> and </a:t>
            </a:r>
            <a:r>
              <a:rPr lang="de-DE" noProof="0" err="1"/>
              <a:t>other</a:t>
            </a:r>
            <a:r>
              <a:rPr lang="de-DE" noProof="0"/>
              <a:t> </a:t>
            </a:r>
            <a:r>
              <a:rPr lang="de-DE" noProof="0" err="1"/>
              <a:t>information</a:t>
            </a:r>
            <a:r>
              <a:rPr lang="de-DE" noProof="0"/>
              <a:t> </a:t>
            </a:r>
            <a:br>
              <a:rPr lang="de-DE" noProof="0"/>
            </a:br>
            <a:r>
              <a:rPr lang="de-DE" noProof="0"/>
              <a:t>Place &amp; Date in </a:t>
            </a:r>
            <a:r>
              <a:rPr lang="de-DE" noProof="0" err="1"/>
              <a:t>second</a:t>
            </a:r>
            <a:r>
              <a:rPr lang="de-DE" noProof="0"/>
              <a:t> </a:t>
            </a:r>
            <a:r>
              <a:rPr lang="de-DE" noProof="0" err="1"/>
              <a:t>text</a:t>
            </a:r>
            <a:r>
              <a:rPr lang="de-DE" noProof="0"/>
              <a:t> </a:t>
            </a:r>
            <a:r>
              <a:rPr lang="de-DE" noProof="0" err="1"/>
              <a:t>level</a:t>
            </a:r>
            <a:endParaRPr lang="de-DE" noProof="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2312876"/>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201031159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1628775"/>
            <a:ext cx="4823780" cy="2124262"/>
          </a:xfrm>
          <a:prstGeom prst="roundRect">
            <a:avLst>
              <a:gd name="adj" fmla="val 696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6276556" y="1628775"/>
            <a:ext cx="4824000" cy="2124261"/>
          </a:xfrm>
          <a:prstGeom prst="roundRect">
            <a:avLst>
              <a:gd name="adj" fmla="val 6528"/>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3933056"/>
            <a:ext cx="10007601" cy="2124844"/>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3" name="Fußzeilenplatzhalter 2">
            <a:extLst>
              <a:ext uri="{FF2B5EF4-FFF2-40B4-BE49-F238E27FC236}">
                <a16:creationId xmlns:a16="http://schemas.microsoft.com/office/drawing/2014/main" id="{A3D93327-5C5B-D6BB-676E-FE363E72E396}"/>
              </a:ext>
            </a:extLst>
          </p:cNvPr>
          <p:cNvSpPr>
            <a:spLocks noGrp="1"/>
          </p:cNvSpPr>
          <p:nvPr>
            <p:ph type="ftr" sz="quarter" idx="16"/>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FAF854F9-C88D-C030-D34E-E9BD073B6FB9}"/>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DA195368-4729-B6F0-1E9A-CCF9CD4972A0}"/>
              </a:ext>
            </a:extLst>
          </p:cNvPr>
          <p:cNvSpPr>
            <a:spLocks noGrp="1"/>
          </p:cNvSpPr>
          <p:nvPr>
            <p:ph type="sldNum" sz="quarter" idx="17"/>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5089066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3104964"/>
            <a:ext cx="3095588" cy="295293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4548172" y="3141304"/>
            <a:ext cx="3096000" cy="291659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2312988"/>
            <a:ext cx="10007601" cy="647960"/>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Bildplatzhalter 5"/>
          <p:cNvSpPr>
            <a:spLocks noGrp="1"/>
          </p:cNvSpPr>
          <p:nvPr>
            <p:ph type="pic" sz="quarter" idx="16" hasCustomPrompt="1"/>
          </p:nvPr>
        </p:nvSpPr>
        <p:spPr bwMode="gray">
          <a:xfrm>
            <a:off x="8004556" y="3141304"/>
            <a:ext cx="3096000" cy="2916596"/>
          </a:xfrm>
          <a:prstGeom prst="roundRect">
            <a:avLst>
              <a:gd name="adj" fmla="val 501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normAutofit/>
          </a:bodyPr>
          <a:lstStyle/>
          <a:p>
            <a:r>
              <a:rPr lang="de-DE" noProof="0"/>
              <a:t>Headline (max. 2 lines) </a:t>
            </a:r>
            <a:endParaRPr lang="de-DE"/>
          </a:p>
        </p:txBody>
      </p:sp>
      <p:sp>
        <p:nvSpPr>
          <p:cNvPr id="12" name="Untertitel 2">
            <a:extLst>
              <a:ext uri="{FF2B5EF4-FFF2-40B4-BE49-F238E27FC236}">
                <a16:creationId xmlns:a16="http://schemas.microsoft.com/office/drawing/2014/main" id="{6ADDE7DF-3358-3227-0BD7-C8383927C6C2}"/>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AD0A22D3-6F4D-498D-5430-6F71859F136F}"/>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9950255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Boxes &amp; pictures">
    <p:spTree>
      <p:nvGrpSpPr>
        <p:cNvPr id="1" name=""/>
        <p:cNvGrpSpPr/>
        <p:nvPr/>
      </p:nvGrpSpPr>
      <p:grpSpPr>
        <a:xfrm>
          <a:off x="0" y="0"/>
          <a:ext cx="0" cy="0"/>
          <a:chOff x="0" y="0"/>
          <a:chExt cx="0" cy="0"/>
        </a:xfrm>
      </p:grpSpPr>
      <p:sp>
        <p:nvSpPr>
          <p:cNvPr id="5" name="Textplatzhalter 4"/>
          <p:cNvSpPr>
            <a:spLocks noGrp="1"/>
          </p:cNvSpPr>
          <p:nvPr>
            <p:ph type="body" sz="quarter" idx="15" hasCustomPrompt="1"/>
          </p:nvPr>
        </p:nvSpPr>
        <p:spPr bwMode="gray">
          <a:xfrm>
            <a:off x="1164207" y="3392996"/>
            <a:ext cx="2951573"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a:p>
            <a:pPr lvl="4"/>
            <a:endParaRPr lang="de-DE" noProof="0"/>
          </a:p>
        </p:txBody>
      </p:sp>
      <p:sp>
        <p:nvSpPr>
          <p:cNvPr id="13" name="Textplatzhalter 4">
            <a:extLst>
              <a:ext uri="{FF2B5EF4-FFF2-40B4-BE49-F238E27FC236}">
                <a16:creationId xmlns:a16="http://schemas.microsoft.com/office/drawing/2014/main" id="{3D53D7B3-A662-6793-7BC3-983EE4D678BD}"/>
              </a:ext>
            </a:extLst>
          </p:cNvPr>
          <p:cNvSpPr>
            <a:spLocks noGrp="1"/>
          </p:cNvSpPr>
          <p:nvPr>
            <p:ph type="body" sz="quarter" idx="20" hasCustomPrompt="1"/>
          </p:nvPr>
        </p:nvSpPr>
        <p:spPr bwMode="gray">
          <a:xfrm>
            <a:off x="4619836"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a:p>
        </p:txBody>
      </p:sp>
      <p:sp>
        <p:nvSpPr>
          <p:cNvPr id="15" name="Textplatzhalter 4">
            <a:extLst>
              <a:ext uri="{FF2B5EF4-FFF2-40B4-BE49-F238E27FC236}">
                <a16:creationId xmlns:a16="http://schemas.microsoft.com/office/drawing/2014/main" id="{C2978127-8567-48AD-1CA6-435913412131}"/>
              </a:ext>
            </a:extLst>
          </p:cNvPr>
          <p:cNvSpPr>
            <a:spLocks noGrp="1"/>
          </p:cNvSpPr>
          <p:nvPr>
            <p:ph type="body" sz="quarter" idx="22" hasCustomPrompt="1"/>
          </p:nvPr>
        </p:nvSpPr>
        <p:spPr bwMode="gray">
          <a:xfrm>
            <a:off x="8076220"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a:p>
        </p:txBody>
      </p:sp>
      <p:sp>
        <p:nvSpPr>
          <p:cNvPr id="9" name="Bildplatzhalter 5"/>
          <p:cNvSpPr>
            <a:spLocks noGrp="1"/>
          </p:cNvSpPr>
          <p:nvPr>
            <p:ph type="pic" sz="quarter" idx="13" hasCustomPrompt="1"/>
          </p:nvPr>
        </p:nvSpPr>
        <p:spPr bwMode="gray">
          <a:xfrm>
            <a:off x="1092200"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lstStyle/>
          <a:p>
            <a:r>
              <a:rPr lang="de-DE" noProof="0"/>
              <a:t>Headline (max. 2 lines) </a:t>
            </a:r>
            <a:endParaRPr lang="de-DE"/>
          </a:p>
        </p:txBody>
      </p:sp>
      <p:sp>
        <p:nvSpPr>
          <p:cNvPr id="8" name="Bildplatzhalter 5">
            <a:extLst>
              <a:ext uri="{FF2B5EF4-FFF2-40B4-BE49-F238E27FC236}">
                <a16:creationId xmlns:a16="http://schemas.microsoft.com/office/drawing/2014/main" id="{EC1B3147-4DF0-040C-8D2B-6BEAAC86436F}"/>
              </a:ext>
            </a:extLst>
          </p:cNvPr>
          <p:cNvSpPr>
            <a:spLocks noGrp="1"/>
          </p:cNvSpPr>
          <p:nvPr>
            <p:ph type="pic" sz="quarter" idx="19" hasCustomPrompt="1"/>
          </p:nvPr>
        </p:nvSpPr>
        <p:spPr bwMode="gray">
          <a:xfrm>
            <a:off x="4548172" y="1628775"/>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4" name="Bildplatzhalter 5">
            <a:extLst>
              <a:ext uri="{FF2B5EF4-FFF2-40B4-BE49-F238E27FC236}">
                <a16:creationId xmlns:a16="http://schemas.microsoft.com/office/drawing/2014/main" id="{DAD637D1-8B71-49EA-B6A9-BB739F7CBFBE}"/>
              </a:ext>
            </a:extLst>
          </p:cNvPr>
          <p:cNvSpPr>
            <a:spLocks noGrp="1"/>
          </p:cNvSpPr>
          <p:nvPr>
            <p:ph type="pic" sz="quarter" idx="21" hasCustomPrompt="1"/>
          </p:nvPr>
        </p:nvSpPr>
        <p:spPr bwMode="gray">
          <a:xfrm>
            <a:off x="8004556"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Slide Number Placeholder 1">
            <a:extLst>
              <a:ext uri="{FF2B5EF4-FFF2-40B4-BE49-F238E27FC236}">
                <a16:creationId xmlns:a16="http://schemas.microsoft.com/office/drawing/2014/main" id="{DB397C13-19F4-C893-992D-2529EF2FC2A0}"/>
              </a:ext>
            </a:extLst>
          </p:cNvPr>
          <p:cNvSpPr>
            <a:spLocks noGrp="1"/>
          </p:cNvSpPr>
          <p:nvPr>
            <p:ph type="sldNum" sz="quarter" idx="2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854683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ement with picture | 1">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1528CFBE-962A-A6AE-7264-41A3C494CE7B}"/>
              </a:ext>
            </a:extLst>
          </p:cNvPr>
          <p:cNvSpPr>
            <a:spLocks noGrp="1"/>
          </p:cNvSpPr>
          <p:nvPr>
            <p:ph type="pic" sz="quarter" idx="13" hasCustomPrompt="1"/>
          </p:nvPr>
        </p:nvSpPr>
        <p:spPr bwMode="gray">
          <a:xfrm>
            <a:off x="5205413" y="0"/>
            <a:ext cx="6987795" cy="6858000"/>
          </a:xfrm>
          <a:custGeom>
            <a:avLst/>
            <a:gdLst>
              <a:gd name="connsiteX0" fmla="*/ 5084839 w 6987795"/>
              <a:gd name="connsiteY0" fmla="*/ 0 h 6858000"/>
              <a:gd name="connsiteX1" fmla="*/ 6987795 w 6987795"/>
              <a:gd name="connsiteY1" fmla="*/ 0 h 6858000"/>
              <a:gd name="connsiteX2" fmla="*/ 6987795 w 6987795"/>
              <a:gd name="connsiteY2" fmla="*/ 6858000 h 6858000"/>
              <a:gd name="connsiteX3" fmla="*/ 0 w 6987795"/>
              <a:gd name="connsiteY3" fmla="*/ 6858000 h 6858000"/>
              <a:gd name="connsiteX4" fmla="*/ 1715 w 6987795"/>
              <a:gd name="connsiteY4" fmla="*/ 6847777 h 6858000"/>
              <a:gd name="connsiteX5" fmla="*/ 2541 w 6987795"/>
              <a:gd name="connsiteY5" fmla="*/ 6842824 h 6858000"/>
              <a:gd name="connsiteX6" fmla="*/ 6161 w 6987795"/>
              <a:gd name="connsiteY6" fmla="*/ 6824345 h 6858000"/>
              <a:gd name="connsiteX7" fmla="*/ 692816 w 6987795"/>
              <a:gd name="connsiteY7" fmla="*/ 3524250 h 6858000"/>
              <a:gd name="connsiteX8" fmla="*/ 703676 w 6987795"/>
              <a:gd name="connsiteY8" fmla="*/ 3471990 h 6858000"/>
              <a:gd name="connsiteX9" fmla="*/ 710981 w 6987795"/>
              <a:gd name="connsiteY9" fmla="*/ 3436938 h 6858000"/>
              <a:gd name="connsiteX10" fmla="*/ 1054594 w 6987795"/>
              <a:gd name="connsiteY10" fmla="*/ 1785366 h 6858000"/>
              <a:gd name="connsiteX11" fmla="*/ 1057325 w 6987795"/>
              <a:gd name="connsiteY11" fmla="*/ 1772158 h 6858000"/>
              <a:gd name="connsiteX12" fmla="*/ 1368546 w 6987795"/>
              <a:gd name="connsiteY12" fmla="*/ 1307656 h 6858000"/>
              <a:gd name="connsiteX13" fmla="*/ 1423486 w 6987795"/>
              <a:gd name="connsiteY13" fmla="*/ 1273302 h 6858000"/>
              <a:gd name="connsiteX14" fmla="*/ 1432378 w 6987795"/>
              <a:gd name="connsiteY14" fmla="*/ 1268159 h 6858000"/>
              <a:gd name="connsiteX15" fmla="*/ 1993845 w 6987795"/>
              <a:gd name="connsiteY15" fmla="*/ 1054608 h 6858000"/>
              <a:gd name="connsiteX16" fmla="*/ 2888573 w 6987795"/>
              <a:gd name="connsiteY16" fmla="*/ 748665 h 6858000"/>
              <a:gd name="connsiteX17" fmla="*/ 3333111 w 6987795"/>
              <a:gd name="connsiteY17" fmla="*/ 598107 h 6858000"/>
              <a:gd name="connsiteX18" fmla="*/ 4254832 w 6987795"/>
              <a:gd name="connsiteY18" fmla="*/ 283147 h 6858000"/>
              <a:gd name="connsiteX19" fmla="*/ 4254832 w 6987795"/>
              <a:gd name="connsiteY19" fmla="*/ 283210 h 6858000"/>
              <a:gd name="connsiteX20" fmla="*/ 4575580 w 6987795"/>
              <a:gd name="connsiteY20" fmla="*/ 173736 h 6858000"/>
              <a:gd name="connsiteX21" fmla="*/ 5084839 w 6987795"/>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87795" h="6858000">
                <a:moveTo>
                  <a:pt x="5084839" y="0"/>
                </a:moveTo>
                <a:lnTo>
                  <a:pt x="6987795" y="0"/>
                </a:lnTo>
                <a:lnTo>
                  <a:pt x="6987795" y="6858000"/>
                </a:lnTo>
                <a:lnTo>
                  <a:pt x="0" y="6858000"/>
                </a:lnTo>
                <a:cubicBezTo>
                  <a:pt x="572" y="6854571"/>
                  <a:pt x="1143" y="6851206"/>
                  <a:pt x="1715" y="6847777"/>
                </a:cubicBezTo>
                <a:cubicBezTo>
                  <a:pt x="1969" y="6846126"/>
                  <a:pt x="2223" y="6844475"/>
                  <a:pt x="2541" y="6842824"/>
                </a:cubicBezTo>
                <a:cubicBezTo>
                  <a:pt x="3684" y="6836664"/>
                  <a:pt x="4891" y="6830505"/>
                  <a:pt x="6161" y="6824345"/>
                </a:cubicBezTo>
                <a:cubicBezTo>
                  <a:pt x="6161" y="6824345"/>
                  <a:pt x="389153" y="4983544"/>
                  <a:pt x="692816" y="3524250"/>
                </a:cubicBezTo>
                <a:cubicBezTo>
                  <a:pt x="696436" y="3506788"/>
                  <a:pt x="700056" y="3489325"/>
                  <a:pt x="703676" y="3471990"/>
                </a:cubicBezTo>
                <a:cubicBezTo>
                  <a:pt x="706154" y="3460306"/>
                  <a:pt x="708567" y="3448622"/>
                  <a:pt x="710981" y="3436938"/>
                </a:cubicBezTo>
                <a:cubicBezTo>
                  <a:pt x="887297" y="2589403"/>
                  <a:pt x="1033062" y="1888871"/>
                  <a:pt x="1054594" y="1785366"/>
                </a:cubicBezTo>
                <a:cubicBezTo>
                  <a:pt x="1056372" y="1776667"/>
                  <a:pt x="1057325" y="1772158"/>
                  <a:pt x="1057325" y="1772158"/>
                </a:cubicBezTo>
                <a:cubicBezTo>
                  <a:pt x="1096767" y="1554163"/>
                  <a:pt x="1214714" y="1410716"/>
                  <a:pt x="1368546" y="1307656"/>
                </a:cubicBezTo>
                <a:cubicBezTo>
                  <a:pt x="1386393" y="1295654"/>
                  <a:pt x="1404749" y="1284224"/>
                  <a:pt x="1423486" y="1273302"/>
                </a:cubicBezTo>
                <a:cubicBezTo>
                  <a:pt x="1426471" y="1271588"/>
                  <a:pt x="1429392" y="1269873"/>
                  <a:pt x="1432378" y="1268159"/>
                </a:cubicBezTo>
                <a:cubicBezTo>
                  <a:pt x="1602787" y="1170877"/>
                  <a:pt x="1806224" y="1112774"/>
                  <a:pt x="1993845" y="1054608"/>
                </a:cubicBezTo>
                <a:cubicBezTo>
                  <a:pt x="2291791" y="951992"/>
                  <a:pt x="2590119" y="850075"/>
                  <a:pt x="2888573" y="748665"/>
                </a:cubicBezTo>
                <a:cubicBezTo>
                  <a:pt x="3036689" y="698373"/>
                  <a:pt x="3184868" y="648145"/>
                  <a:pt x="3333111" y="598107"/>
                </a:cubicBezTo>
                <a:cubicBezTo>
                  <a:pt x="3640330" y="493014"/>
                  <a:pt x="3947549" y="388049"/>
                  <a:pt x="4254832" y="283147"/>
                </a:cubicBezTo>
                <a:lnTo>
                  <a:pt x="4254832" y="283210"/>
                </a:lnTo>
                <a:cubicBezTo>
                  <a:pt x="4361727" y="246697"/>
                  <a:pt x="4468685" y="210249"/>
                  <a:pt x="4575580" y="173736"/>
                </a:cubicBezTo>
                <a:cubicBezTo>
                  <a:pt x="4745354" y="115761"/>
                  <a:pt x="4915065" y="57848"/>
                  <a:pt x="5084839"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95850" cy="604039"/>
          </a:xfrm>
        </p:spPr>
        <p:txBody>
          <a:bodyPr lIns="0" tIns="0" rIns="0" bIns="0"/>
          <a:lstStyle>
            <a:lvl1pPr>
              <a:defRPr/>
            </a:lvl1pPr>
          </a:lstStyle>
          <a:p>
            <a:r>
              <a:rPr lang="de-DE" noProof="0"/>
              <a:t>Headline (1 line) </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775"/>
            <a:ext cx="3959683" cy="4429126"/>
          </a:xfrm>
          <a:prstGeom prst="rect">
            <a:avLst/>
          </a:prstGeom>
        </p:spPr>
        <p:txBody>
          <a:bodyPr lIns="0" tIns="0" rIns="0" bIns="0"/>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7" name="Textplatzhalter 16">
            <a:extLst>
              <a:ext uri="{FF2B5EF4-FFF2-40B4-BE49-F238E27FC236}">
                <a16:creationId xmlns:a16="http://schemas.microsoft.com/office/drawing/2014/main" id="{1E08799C-2685-83F7-D5FC-8E57ACB8EF97}"/>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28A70D2F-5145-629E-3D11-DDEA435AC055}"/>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1226209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tement with picture | 2">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1B1CD39B-2478-E6F6-6024-66E0CE39D5A4}"/>
              </a:ext>
            </a:extLst>
          </p:cNvPr>
          <p:cNvSpPr>
            <a:spLocks noGrp="1"/>
          </p:cNvSpPr>
          <p:nvPr>
            <p:ph type="pic" sz="quarter" idx="13" hasCustomPrompt="1"/>
          </p:nvPr>
        </p:nvSpPr>
        <p:spPr bwMode="gray">
          <a:xfrm>
            <a:off x="63" y="2867025"/>
            <a:ext cx="12192000" cy="3988628"/>
          </a:xfrm>
          <a:custGeom>
            <a:avLst/>
            <a:gdLst>
              <a:gd name="connsiteX0" fmla="*/ 2873566 w 12192000"/>
              <a:gd name="connsiteY0" fmla="*/ 0 h 3988628"/>
              <a:gd name="connsiteX1" fmla="*/ 3493707 w 12192000"/>
              <a:gd name="connsiteY1" fmla="*/ 108943 h 3988628"/>
              <a:gd name="connsiteX2" fmla="*/ 4875214 w 12192000"/>
              <a:gd name="connsiteY2" fmla="*/ 413120 h 3988628"/>
              <a:gd name="connsiteX3" fmla="*/ 8857234 w 12192000"/>
              <a:gd name="connsiteY3" fmla="*/ 1289802 h 3988628"/>
              <a:gd name="connsiteX4" fmla="*/ 10563796 w 12192000"/>
              <a:gd name="connsiteY4" fmla="*/ 1665487 h 3988628"/>
              <a:gd name="connsiteX5" fmla="*/ 10563860 w 12192000"/>
              <a:gd name="connsiteY5" fmla="*/ 1665487 h 3988628"/>
              <a:gd name="connsiteX6" fmla="*/ 11616880 w 12192000"/>
              <a:gd name="connsiteY6" fmla="*/ 2005576 h 3988628"/>
              <a:gd name="connsiteX7" fmla="*/ 12192000 w 12192000"/>
              <a:gd name="connsiteY7" fmla="*/ 2541471 h 3988628"/>
              <a:gd name="connsiteX8" fmla="*/ 12192000 w 12192000"/>
              <a:gd name="connsiteY8" fmla="*/ 3988628 h 3988628"/>
              <a:gd name="connsiteX9" fmla="*/ 0 w 12192000"/>
              <a:gd name="connsiteY9" fmla="*/ 3988628 h 3988628"/>
              <a:gd name="connsiteX10" fmla="*/ 0 w 12192000"/>
              <a:gd name="connsiteY10" fmla="*/ 2723507 h 3988628"/>
              <a:gd name="connsiteX11" fmla="*/ 2320989 w 12192000"/>
              <a:gd name="connsiteY11" fmla="*/ 236540 h 3988628"/>
              <a:gd name="connsiteX12" fmla="*/ 2873566 w 12192000"/>
              <a:gd name="connsiteY12" fmla="*/ 0 h 398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3988628">
                <a:moveTo>
                  <a:pt x="2873566" y="0"/>
                </a:moveTo>
                <a:cubicBezTo>
                  <a:pt x="3078607" y="0"/>
                  <a:pt x="3293555" y="59072"/>
                  <a:pt x="3493707" y="108943"/>
                </a:cubicBezTo>
                <a:cubicBezTo>
                  <a:pt x="3954463" y="208939"/>
                  <a:pt x="4414965" y="310332"/>
                  <a:pt x="4875214" y="413120"/>
                </a:cubicBezTo>
                <a:cubicBezTo>
                  <a:pt x="6202744" y="703909"/>
                  <a:pt x="7530148" y="996158"/>
                  <a:pt x="8857234" y="1289802"/>
                </a:cubicBezTo>
                <a:cubicBezTo>
                  <a:pt x="9426321" y="1413592"/>
                  <a:pt x="9995154" y="1538841"/>
                  <a:pt x="10563796" y="1665487"/>
                </a:cubicBezTo>
                <a:lnTo>
                  <a:pt x="10563860" y="1665487"/>
                </a:lnTo>
                <a:cubicBezTo>
                  <a:pt x="10918127" y="1770242"/>
                  <a:pt x="11324844" y="1748225"/>
                  <a:pt x="11616880" y="2005576"/>
                </a:cubicBezTo>
                <a:lnTo>
                  <a:pt x="12192000" y="2541471"/>
                </a:lnTo>
                <a:lnTo>
                  <a:pt x="12192000" y="3988628"/>
                </a:lnTo>
                <a:lnTo>
                  <a:pt x="0" y="3988628"/>
                </a:lnTo>
                <a:lnTo>
                  <a:pt x="0" y="2723507"/>
                </a:lnTo>
                <a:cubicBezTo>
                  <a:pt x="1020001" y="1630589"/>
                  <a:pt x="2320989" y="236540"/>
                  <a:pt x="2320989" y="236540"/>
                </a:cubicBezTo>
                <a:cubicBezTo>
                  <a:pt x="2479802" y="57168"/>
                  <a:pt x="2671890" y="0"/>
                  <a:pt x="2873566"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267"/>
            <a:ext cx="10009933" cy="1260673"/>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2" name="Title 1">
            <a:extLst>
              <a:ext uri="{FF2B5EF4-FFF2-40B4-BE49-F238E27FC236}">
                <a16:creationId xmlns:a16="http://schemas.microsoft.com/office/drawing/2014/main" id="{B481658F-54A7-0D56-B0B9-C31D3BBFABE8}"/>
              </a:ext>
            </a:extLst>
          </p:cNvPr>
          <p:cNvSpPr>
            <a:spLocks noGrp="1"/>
          </p:cNvSpPr>
          <p:nvPr>
            <p:ph type="title" hasCustomPrompt="1"/>
          </p:nvPr>
        </p:nvSpPr>
        <p:spPr>
          <a:xfrm>
            <a:off x="1094534" y="789687"/>
            <a:ext cx="10007600" cy="604039"/>
          </a:xfrm>
        </p:spPr>
        <p:txBody>
          <a:bodyPr/>
          <a:lstStyle/>
          <a:p>
            <a:r>
              <a:rPr lang="de-DE" noProof="0"/>
              <a:t>Headline (1 line) </a:t>
            </a:r>
            <a:endParaRPr lang="de-DE"/>
          </a:p>
        </p:txBody>
      </p:sp>
      <p:sp>
        <p:nvSpPr>
          <p:cNvPr id="5" name="Slide Number Placeholder 4">
            <a:extLst>
              <a:ext uri="{FF2B5EF4-FFF2-40B4-BE49-F238E27FC236}">
                <a16:creationId xmlns:a16="http://schemas.microsoft.com/office/drawing/2014/main" id="{2A8B63D6-AD69-CCBC-5DC7-6B5036140842}"/>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2415350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tement with picture | 3">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51EE006F-0EF0-024C-ACA5-B2F004E85644}"/>
              </a:ext>
            </a:extLst>
          </p:cNvPr>
          <p:cNvSpPr>
            <a:spLocks noGrp="1"/>
          </p:cNvSpPr>
          <p:nvPr>
            <p:ph type="pic" sz="quarter" idx="13" hasCustomPrompt="1"/>
          </p:nvPr>
        </p:nvSpPr>
        <p:spPr bwMode="gray">
          <a:xfrm>
            <a:off x="3181356" y="0"/>
            <a:ext cx="9010645" cy="6858000"/>
          </a:xfrm>
          <a:custGeom>
            <a:avLst/>
            <a:gdLst>
              <a:gd name="connsiteX0" fmla="*/ 2735950 w 9010645"/>
              <a:gd name="connsiteY0" fmla="*/ 0 h 6858000"/>
              <a:gd name="connsiteX1" fmla="*/ 9010645 w 9010645"/>
              <a:gd name="connsiteY1" fmla="*/ 0 h 6858000"/>
              <a:gd name="connsiteX2" fmla="*/ 9010645 w 9010645"/>
              <a:gd name="connsiteY2" fmla="*/ 6858000 h 6858000"/>
              <a:gd name="connsiteX3" fmla="*/ 0 w 9010645"/>
              <a:gd name="connsiteY3" fmla="*/ 6858000 h 6858000"/>
              <a:gd name="connsiteX4" fmla="*/ 2321983 w 9010645"/>
              <a:gd name="connsiteY4" fmla="*/ 6154547 h 6858000"/>
              <a:gd name="connsiteX5" fmla="*/ 3730667 w 9010645"/>
              <a:gd name="connsiteY5" fmla="*/ 5509959 h 6858000"/>
              <a:gd name="connsiteX6" fmla="*/ 5477805 w 9010645"/>
              <a:gd name="connsiteY6" fmla="*/ 2453513 h 6858000"/>
              <a:gd name="connsiteX7" fmla="*/ 5191432 w 9010645"/>
              <a:gd name="connsiteY7" fmla="*/ 140316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10645" h="6858000">
                <a:moveTo>
                  <a:pt x="2735950" y="0"/>
                </a:moveTo>
                <a:lnTo>
                  <a:pt x="9010645" y="0"/>
                </a:lnTo>
                <a:lnTo>
                  <a:pt x="9010645" y="6858000"/>
                </a:lnTo>
                <a:lnTo>
                  <a:pt x="0" y="6858000"/>
                </a:lnTo>
                <a:cubicBezTo>
                  <a:pt x="774015" y="6623685"/>
                  <a:pt x="1548030" y="6389180"/>
                  <a:pt x="2321983" y="6154547"/>
                </a:cubicBezTo>
                <a:cubicBezTo>
                  <a:pt x="2795714" y="5957697"/>
                  <a:pt x="3429813" y="5985764"/>
                  <a:pt x="3730667" y="5509959"/>
                </a:cubicBezTo>
                <a:cubicBezTo>
                  <a:pt x="3730667" y="5509959"/>
                  <a:pt x="5477805" y="2453513"/>
                  <a:pt x="5477805" y="2453513"/>
                </a:cubicBezTo>
                <a:cubicBezTo>
                  <a:pt x="5688790" y="2084388"/>
                  <a:pt x="5560624" y="1614107"/>
                  <a:pt x="5191432" y="140316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23780" cy="604039"/>
          </a:xfrm>
        </p:spPr>
        <p:txBody>
          <a:bodyPr/>
          <a:lstStyle>
            <a:lvl1pPr>
              <a:defRPr/>
            </a:lvl1pPr>
          </a:lstStyle>
          <a:p>
            <a:r>
              <a:rPr lang="de-DE" noProof="0"/>
              <a:t>Headline (1 line) </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1628775"/>
            <a:ext cx="4823781"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01BFD135-65B7-B4FD-705F-88B196A49EFF}"/>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6385344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4E417772-2FA4-0A1C-AC89-4C2FF74B8B9A}"/>
              </a:ext>
            </a:extLst>
          </p:cNvPr>
          <p:cNvSpPr>
            <a:spLocks noGrp="1"/>
          </p:cNvSpPr>
          <p:nvPr>
            <p:ph type="pic" sz="quarter" idx="13" hasCustomPrompt="1"/>
          </p:nvPr>
        </p:nvSpPr>
        <p:spPr bwMode="gray">
          <a:xfrm>
            <a:off x="0" y="0"/>
            <a:ext cx="12192000" cy="6858000"/>
          </a:xfrm>
          <a:custGeom>
            <a:avLst/>
            <a:gdLst>
              <a:gd name="connsiteX0" fmla="*/ 0 w 12192000"/>
              <a:gd name="connsiteY0" fmla="*/ 0 h 6858000"/>
              <a:gd name="connsiteX1" fmla="*/ 3076 w 12192000"/>
              <a:gd name="connsiteY1" fmla="*/ 0 h 6858000"/>
              <a:gd name="connsiteX2" fmla="*/ 3076 w 12192000"/>
              <a:gd name="connsiteY2" fmla="*/ 6592951 h 6858000"/>
              <a:gd name="connsiteX3" fmla="*/ 77371 w 12192000"/>
              <a:gd name="connsiteY3" fmla="*/ 6584443 h 6858000"/>
              <a:gd name="connsiteX4" fmla="*/ 155222 w 12192000"/>
              <a:gd name="connsiteY4" fmla="*/ 6575679 h 6858000"/>
              <a:gd name="connsiteX5" fmla="*/ 155095 w 12192000"/>
              <a:gd name="connsiteY5" fmla="*/ 6575679 h 6858000"/>
              <a:gd name="connsiteX6" fmla="*/ 232819 w 12192000"/>
              <a:gd name="connsiteY6" fmla="*/ 6566916 h 6858000"/>
              <a:gd name="connsiteX7" fmla="*/ 310670 w 12192000"/>
              <a:gd name="connsiteY7" fmla="*/ 6558153 h 6858000"/>
              <a:gd name="connsiteX8" fmla="*/ 388394 w 12192000"/>
              <a:gd name="connsiteY8" fmla="*/ 6549390 h 6858000"/>
              <a:gd name="connsiteX9" fmla="*/ 466245 w 12192000"/>
              <a:gd name="connsiteY9" fmla="*/ 6540627 h 6858000"/>
              <a:gd name="connsiteX10" fmla="*/ 544096 w 12192000"/>
              <a:gd name="connsiteY10" fmla="*/ 6531864 h 6858000"/>
              <a:gd name="connsiteX11" fmla="*/ 621820 w 12192000"/>
              <a:gd name="connsiteY11" fmla="*/ 6523101 h 6858000"/>
              <a:gd name="connsiteX12" fmla="*/ 699671 w 12192000"/>
              <a:gd name="connsiteY12" fmla="*/ 6514338 h 6858000"/>
              <a:gd name="connsiteX13" fmla="*/ 777395 w 12192000"/>
              <a:gd name="connsiteY13" fmla="*/ 6505575 h 6858000"/>
              <a:gd name="connsiteX14" fmla="*/ 855119 w 12192000"/>
              <a:gd name="connsiteY14" fmla="*/ 6496812 h 6858000"/>
              <a:gd name="connsiteX15" fmla="*/ 932970 w 12192000"/>
              <a:gd name="connsiteY15" fmla="*/ 6488049 h 6858000"/>
              <a:gd name="connsiteX16" fmla="*/ 1010694 w 12192000"/>
              <a:gd name="connsiteY16" fmla="*/ 6479286 h 6858000"/>
              <a:gd name="connsiteX17" fmla="*/ 1088545 w 12192000"/>
              <a:gd name="connsiteY17" fmla="*/ 6470523 h 6858000"/>
              <a:gd name="connsiteX18" fmla="*/ 1166269 w 12192000"/>
              <a:gd name="connsiteY18" fmla="*/ 6461760 h 6858000"/>
              <a:gd name="connsiteX19" fmla="*/ 1244120 w 12192000"/>
              <a:gd name="connsiteY19" fmla="*/ 6452997 h 6858000"/>
              <a:gd name="connsiteX20" fmla="*/ 1321844 w 12192000"/>
              <a:gd name="connsiteY20" fmla="*/ 6444234 h 6858000"/>
              <a:gd name="connsiteX21" fmla="*/ 1399568 w 12192000"/>
              <a:gd name="connsiteY21" fmla="*/ 6435471 h 6858000"/>
              <a:gd name="connsiteX22" fmla="*/ 1477419 w 12192000"/>
              <a:gd name="connsiteY22" fmla="*/ 6426708 h 6858000"/>
              <a:gd name="connsiteX23" fmla="*/ 1555143 w 12192000"/>
              <a:gd name="connsiteY23" fmla="*/ 6417945 h 6858000"/>
              <a:gd name="connsiteX24" fmla="*/ 1632994 w 12192000"/>
              <a:gd name="connsiteY24" fmla="*/ 6409182 h 6858000"/>
              <a:gd name="connsiteX25" fmla="*/ 1710718 w 12192000"/>
              <a:gd name="connsiteY25" fmla="*/ 6400419 h 6858000"/>
              <a:gd name="connsiteX26" fmla="*/ 1788442 w 12192000"/>
              <a:gd name="connsiteY26" fmla="*/ 6391656 h 6858000"/>
              <a:gd name="connsiteX27" fmla="*/ 1866293 w 12192000"/>
              <a:gd name="connsiteY27" fmla="*/ 6382893 h 6858000"/>
              <a:gd name="connsiteX28" fmla="*/ 1944017 w 12192000"/>
              <a:gd name="connsiteY28" fmla="*/ 6374130 h 6858000"/>
              <a:gd name="connsiteX29" fmla="*/ 2021868 w 12192000"/>
              <a:gd name="connsiteY29" fmla="*/ 6365367 h 6858000"/>
              <a:gd name="connsiteX30" fmla="*/ 2099592 w 12192000"/>
              <a:gd name="connsiteY30" fmla="*/ 6356604 h 6858000"/>
              <a:gd name="connsiteX31" fmla="*/ 2177443 w 12192000"/>
              <a:gd name="connsiteY31" fmla="*/ 6347841 h 6858000"/>
              <a:gd name="connsiteX32" fmla="*/ 2255167 w 12192000"/>
              <a:gd name="connsiteY32" fmla="*/ 6339078 h 6858000"/>
              <a:gd name="connsiteX33" fmla="*/ 2333018 w 12192000"/>
              <a:gd name="connsiteY33" fmla="*/ 6330315 h 6858000"/>
              <a:gd name="connsiteX34" fmla="*/ 2410742 w 12192000"/>
              <a:gd name="connsiteY34" fmla="*/ 6321552 h 6858000"/>
              <a:gd name="connsiteX35" fmla="*/ 2488593 w 12192000"/>
              <a:gd name="connsiteY35" fmla="*/ 6312789 h 6858000"/>
              <a:gd name="connsiteX36" fmla="*/ 2566444 w 12192000"/>
              <a:gd name="connsiteY36" fmla="*/ 6304026 h 6858000"/>
              <a:gd name="connsiteX37" fmla="*/ 2644168 w 12192000"/>
              <a:gd name="connsiteY37" fmla="*/ 6295263 h 6858000"/>
              <a:gd name="connsiteX38" fmla="*/ 2722019 w 12192000"/>
              <a:gd name="connsiteY38" fmla="*/ 6286500 h 6858000"/>
              <a:gd name="connsiteX39" fmla="*/ 2799870 w 12192000"/>
              <a:gd name="connsiteY39" fmla="*/ 6277737 h 6858000"/>
              <a:gd name="connsiteX40" fmla="*/ 2877594 w 12192000"/>
              <a:gd name="connsiteY40" fmla="*/ 6268974 h 6858000"/>
              <a:gd name="connsiteX41" fmla="*/ 2955318 w 12192000"/>
              <a:gd name="connsiteY41" fmla="*/ 6260211 h 6858000"/>
              <a:gd name="connsiteX42" fmla="*/ 3033169 w 12192000"/>
              <a:gd name="connsiteY42" fmla="*/ 6251448 h 6858000"/>
              <a:gd name="connsiteX43" fmla="*/ 3111020 w 12192000"/>
              <a:gd name="connsiteY43" fmla="*/ 6242685 h 6858000"/>
              <a:gd name="connsiteX44" fmla="*/ 3188744 w 12192000"/>
              <a:gd name="connsiteY44" fmla="*/ 6233922 h 6858000"/>
              <a:gd name="connsiteX45" fmla="*/ 3266595 w 12192000"/>
              <a:gd name="connsiteY45" fmla="*/ 6225159 h 6858000"/>
              <a:gd name="connsiteX46" fmla="*/ 3344319 w 12192000"/>
              <a:gd name="connsiteY46" fmla="*/ 6216396 h 6858000"/>
              <a:gd name="connsiteX47" fmla="*/ 3422043 w 12192000"/>
              <a:gd name="connsiteY47" fmla="*/ 6207633 h 6858000"/>
              <a:gd name="connsiteX48" fmla="*/ 3499894 w 12192000"/>
              <a:gd name="connsiteY48" fmla="*/ 6198870 h 6858000"/>
              <a:gd name="connsiteX49" fmla="*/ 3577618 w 12192000"/>
              <a:gd name="connsiteY49" fmla="*/ 6190107 h 6858000"/>
              <a:gd name="connsiteX50" fmla="*/ 3655342 w 12192000"/>
              <a:gd name="connsiteY50" fmla="*/ 6181344 h 6858000"/>
              <a:gd name="connsiteX51" fmla="*/ 3733193 w 12192000"/>
              <a:gd name="connsiteY51" fmla="*/ 6172581 h 6858000"/>
              <a:gd name="connsiteX52" fmla="*/ 3810917 w 12192000"/>
              <a:gd name="connsiteY52" fmla="*/ 6163818 h 6858000"/>
              <a:gd name="connsiteX53" fmla="*/ 3888641 w 12192000"/>
              <a:gd name="connsiteY53" fmla="*/ 6155055 h 6858000"/>
              <a:gd name="connsiteX54" fmla="*/ 3966492 w 12192000"/>
              <a:gd name="connsiteY54" fmla="*/ 6146292 h 6858000"/>
              <a:gd name="connsiteX55" fmla="*/ 4044343 w 12192000"/>
              <a:gd name="connsiteY55" fmla="*/ 6137529 h 6858000"/>
              <a:gd name="connsiteX56" fmla="*/ 4122067 w 12192000"/>
              <a:gd name="connsiteY56" fmla="*/ 6128766 h 6858000"/>
              <a:gd name="connsiteX57" fmla="*/ 4740303 w 12192000"/>
              <a:gd name="connsiteY57" fmla="*/ 5701919 h 6858000"/>
              <a:gd name="connsiteX58" fmla="*/ 6724551 w 12192000"/>
              <a:gd name="connsiteY58" fmla="*/ 1271397 h 6858000"/>
              <a:gd name="connsiteX59" fmla="*/ 6359553 w 12192000"/>
              <a:gd name="connsiteY59" fmla="*/ 314452 h 6858000"/>
              <a:gd name="connsiteX60" fmla="*/ 5661307 w 12192000"/>
              <a:gd name="connsiteY60" fmla="*/ 0 h 6858000"/>
              <a:gd name="connsiteX61" fmla="*/ 12192000 w 12192000"/>
              <a:gd name="connsiteY61" fmla="*/ 0 h 6858000"/>
              <a:gd name="connsiteX62" fmla="*/ 12192000 w 12192000"/>
              <a:gd name="connsiteY62" fmla="*/ 6858000 h 6858000"/>
              <a:gd name="connsiteX63" fmla="*/ 0 w 12192000"/>
              <a:gd name="connsiteY6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2192000" h="6858000">
                <a:moveTo>
                  <a:pt x="0" y="0"/>
                </a:moveTo>
                <a:lnTo>
                  <a:pt x="3076" y="0"/>
                </a:lnTo>
                <a:lnTo>
                  <a:pt x="3076" y="6592951"/>
                </a:lnTo>
                <a:cubicBezTo>
                  <a:pt x="27968" y="6591300"/>
                  <a:pt x="52860" y="6588633"/>
                  <a:pt x="77371" y="6584443"/>
                </a:cubicBezTo>
                <a:cubicBezTo>
                  <a:pt x="103533" y="6582919"/>
                  <a:pt x="129441" y="6579997"/>
                  <a:pt x="155222" y="6575679"/>
                </a:cubicBezTo>
                <a:lnTo>
                  <a:pt x="155095" y="6575679"/>
                </a:lnTo>
                <a:cubicBezTo>
                  <a:pt x="181257" y="6574156"/>
                  <a:pt x="207165" y="6571234"/>
                  <a:pt x="232819" y="6566916"/>
                </a:cubicBezTo>
                <a:cubicBezTo>
                  <a:pt x="258981" y="6565393"/>
                  <a:pt x="284889" y="6562471"/>
                  <a:pt x="310670" y="6558153"/>
                </a:cubicBezTo>
                <a:cubicBezTo>
                  <a:pt x="336832" y="6556629"/>
                  <a:pt x="362740" y="6553708"/>
                  <a:pt x="388394" y="6549390"/>
                </a:cubicBezTo>
                <a:cubicBezTo>
                  <a:pt x="414556" y="6547866"/>
                  <a:pt x="440464" y="6544945"/>
                  <a:pt x="466245" y="6540627"/>
                </a:cubicBezTo>
                <a:cubicBezTo>
                  <a:pt x="492407" y="6539103"/>
                  <a:pt x="518315" y="6536182"/>
                  <a:pt x="544096" y="6531864"/>
                </a:cubicBezTo>
                <a:cubicBezTo>
                  <a:pt x="570258" y="6530340"/>
                  <a:pt x="596166" y="6527419"/>
                  <a:pt x="621820" y="6523101"/>
                </a:cubicBezTo>
                <a:cubicBezTo>
                  <a:pt x="647982" y="6521577"/>
                  <a:pt x="673890" y="6518657"/>
                  <a:pt x="699671" y="6514338"/>
                </a:cubicBezTo>
                <a:cubicBezTo>
                  <a:pt x="725833" y="6512814"/>
                  <a:pt x="751741" y="6509894"/>
                  <a:pt x="777395" y="6505575"/>
                </a:cubicBezTo>
                <a:cubicBezTo>
                  <a:pt x="803557" y="6504051"/>
                  <a:pt x="829465" y="6501130"/>
                  <a:pt x="855119" y="6496812"/>
                </a:cubicBezTo>
                <a:cubicBezTo>
                  <a:pt x="881281" y="6495288"/>
                  <a:pt x="907189" y="6492367"/>
                  <a:pt x="932970" y="6488049"/>
                </a:cubicBezTo>
                <a:cubicBezTo>
                  <a:pt x="959132" y="6486525"/>
                  <a:pt x="985040" y="6483604"/>
                  <a:pt x="1010694" y="6479286"/>
                </a:cubicBezTo>
                <a:cubicBezTo>
                  <a:pt x="1036856" y="6477762"/>
                  <a:pt x="1062764" y="6474841"/>
                  <a:pt x="1088545" y="6470523"/>
                </a:cubicBezTo>
                <a:cubicBezTo>
                  <a:pt x="1114707" y="6468999"/>
                  <a:pt x="1140615" y="6466078"/>
                  <a:pt x="1166269" y="6461760"/>
                </a:cubicBezTo>
                <a:cubicBezTo>
                  <a:pt x="1192431" y="6460236"/>
                  <a:pt x="1218339" y="6457315"/>
                  <a:pt x="1244120" y="6452997"/>
                </a:cubicBezTo>
                <a:cubicBezTo>
                  <a:pt x="1270282" y="6451473"/>
                  <a:pt x="1296190" y="6448552"/>
                  <a:pt x="1321844" y="6444234"/>
                </a:cubicBezTo>
                <a:cubicBezTo>
                  <a:pt x="1348006" y="6442710"/>
                  <a:pt x="1373914" y="6439789"/>
                  <a:pt x="1399568" y="6435471"/>
                </a:cubicBezTo>
                <a:cubicBezTo>
                  <a:pt x="1425730" y="6433947"/>
                  <a:pt x="1451638" y="6431026"/>
                  <a:pt x="1477419" y="6426708"/>
                </a:cubicBezTo>
                <a:cubicBezTo>
                  <a:pt x="1503581" y="6425184"/>
                  <a:pt x="1529489" y="6422263"/>
                  <a:pt x="1555143" y="6417945"/>
                </a:cubicBezTo>
                <a:cubicBezTo>
                  <a:pt x="1581305" y="6416421"/>
                  <a:pt x="1607213" y="6413500"/>
                  <a:pt x="1632994" y="6409182"/>
                </a:cubicBezTo>
                <a:cubicBezTo>
                  <a:pt x="1659156" y="6407658"/>
                  <a:pt x="1685064" y="6404737"/>
                  <a:pt x="1710718" y="6400419"/>
                </a:cubicBezTo>
                <a:cubicBezTo>
                  <a:pt x="1736880" y="6398895"/>
                  <a:pt x="1762788" y="6395974"/>
                  <a:pt x="1788442" y="6391656"/>
                </a:cubicBezTo>
                <a:cubicBezTo>
                  <a:pt x="1814604" y="6390132"/>
                  <a:pt x="1840512" y="6387211"/>
                  <a:pt x="1866293" y="6382893"/>
                </a:cubicBezTo>
                <a:cubicBezTo>
                  <a:pt x="1892455" y="6381369"/>
                  <a:pt x="1918363" y="6378448"/>
                  <a:pt x="1944017" y="6374130"/>
                </a:cubicBezTo>
                <a:cubicBezTo>
                  <a:pt x="1970179" y="6372606"/>
                  <a:pt x="1996087" y="6369685"/>
                  <a:pt x="2021868" y="6365367"/>
                </a:cubicBezTo>
                <a:cubicBezTo>
                  <a:pt x="2048030" y="6363843"/>
                  <a:pt x="2073938" y="6360922"/>
                  <a:pt x="2099592" y="6356604"/>
                </a:cubicBezTo>
                <a:cubicBezTo>
                  <a:pt x="2125754" y="6355080"/>
                  <a:pt x="2151662" y="6352159"/>
                  <a:pt x="2177443" y="6347841"/>
                </a:cubicBezTo>
                <a:cubicBezTo>
                  <a:pt x="2203605" y="6346317"/>
                  <a:pt x="2229513" y="6343396"/>
                  <a:pt x="2255167" y="6339078"/>
                </a:cubicBezTo>
                <a:cubicBezTo>
                  <a:pt x="2281329" y="6337554"/>
                  <a:pt x="2307364" y="6334633"/>
                  <a:pt x="2333018" y="6330315"/>
                </a:cubicBezTo>
                <a:cubicBezTo>
                  <a:pt x="2359180" y="6328791"/>
                  <a:pt x="2385088" y="6325870"/>
                  <a:pt x="2410742" y="6321552"/>
                </a:cubicBezTo>
                <a:cubicBezTo>
                  <a:pt x="2436904" y="6320028"/>
                  <a:pt x="2462812" y="6317107"/>
                  <a:pt x="2488593" y="6312789"/>
                </a:cubicBezTo>
                <a:cubicBezTo>
                  <a:pt x="2514755" y="6311265"/>
                  <a:pt x="2540790" y="6308344"/>
                  <a:pt x="2566444" y="6304026"/>
                </a:cubicBezTo>
                <a:cubicBezTo>
                  <a:pt x="2592606" y="6302502"/>
                  <a:pt x="2618514" y="6299581"/>
                  <a:pt x="2644168" y="6295263"/>
                </a:cubicBezTo>
                <a:cubicBezTo>
                  <a:pt x="2670330" y="6293739"/>
                  <a:pt x="2696238" y="6290818"/>
                  <a:pt x="2722019" y="6286500"/>
                </a:cubicBezTo>
                <a:cubicBezTo>
                  <a:pt x="2748181" y="6284976"/>
                  <a:pt x="2774089" y="6282055"/>
                  <a:pt x="2799870" y="6277737"/>
                </a:cubicBezTo>
                <a:cubicBezTo>
                  <a:pt x="2826032" y="6276213"/>
                  <a:pt x="2851940" y="6273292"/>
                  <a:pt x="2877594" y="6268974"/>
                </a:cubicBezTo>
                <a:cubicBezTo>
                  <a:pt x="2903756" y="6267450"/>
                  <a:pt x="2929664" y="6264529"/>
                  <a:pt x="2955318" y="6260211"/>
                </a:cubicBezTo>
                <a:cubicBezTo>
                  <a:pt x="2981480" y="6258687"/>
                  <a:pt x="3007388" y="6255766"/>
                  <a:pt x="3033169" y="6251448"/>
                </a:cubicBezTo>
                <a:cubicBezTo>
                  <a:pt x="3059331" y="6249924"/>
                  <a:pt x="3085239" y="6247003"/>
                  <a:pt x="3111020" y="6242685"/>
                </a:cubicBezTo>
                <a:cubicBezTo>
                  <a:pt x="3137182" y="6241161"/>
                  <a:pt x="3163090" y="6238240"/>
                  <a:pt x="3188744" y="6233922"/>
                </a:cubicBezTo>
                <a:cubicBezTo>
                  <a:pt x="3214906" y="6232398"/>
                  <a:pt x="3240941" y="6229477"/>
                  <a:pt x="3266595" y="6225159"/>
                </a:cubicBezTo>
                <a:cubicBezTo>
                  <a:pt x="3292757" y="6223635"/>
                  <a:pt x="3318665" y="6220714"/>
                  <a:pt x="3344319" y="6216396"/>
                </a:cubicBezTo>
                <a:cubicBezTo>
                  <a:pt x="3370481" y="6214872"/>
                  <a:pt x="3396389" y="6211951"/>
                  <a:pt x="3422043" y="6207633"/>
                </a:cubicBezTo>
                <a:cubicBezTo>
                  <a:pt x="3448205" y="6206109"/>
                  <a:pt x="3474113" y="6203188"/>
                  <a:pt x="3499894" y="6198870"/>
                </a:cubicBezTo>
                <a:cubicBezTo>
                  <a:pt x="3526056" y="6197346"/>
                  <a:pt x="3551964" y="6194425"/>
                  <a:pt x="3577618" y="6190107"/>
                </a:cubicBezTo>
                <a:cubicBezTo>
                  <a:pt x="3603780" y="6188583"/>
                  <a:pt x="3629688" y="6185662"/>
                  <a:pt x="3655342" y="6181344"/>
                </a:cubicBezTo>
                <a:cubicBezTo>
                  <a:pt x="3681504" y="6179820"/>
                  <a:pt x="3707539" y="6176899"/>
                  <a:pt x="3733193" y="6172581"/>
                </a:cubicBezTo>
                <a:cubicBezTo>
                  <a:pt x="3759355" y="6171057"/>
                  <a:pt x="3785263" y="6168136"/>
                  <a:pt x="3810917" y="6163818"/>
                </a:cubicBezTo>
                <a:cubicBezTo>
                  <a:pt x="3837079" y="6162294"/>
                  <a:pt x="3862987" y="6159373"/>
                  <a:pt x="3888641" y="6155055"/>
                </a:cubicBezTo>
                <a:cubicBezTo>
                  <a:pt x="3914803" y="6153531"/>
                  <a:pt x="3940711" y="6150610"/>
                  <a:pt x="3966492" y="6146292"/>
                </a:cubicBezTo>
                <a:cubicBezTo>
                  <a:pt x="3992654" y="6144768"/>
                  <a:pt x="4018562" y="6141847"/>
                  <a:pt x="4044343" y="6137529"/>
                </a:cubicBezTo>
                <a:cubicBezTo>
                  <a:pt x="4070505" y="6136005"/>
                  <a:pt x="4096413" y="6133084"/>
                  <a:pt x="4122067" y="6128766"/>
                </a:cubicBezTo>
                <a:cubicBezTo>
                  <a:pt x="4382798" y="6113145"/>
                  <a:pt x="4626130" y="5956808"/>
                  <a:pt x="4740303" y="5701919"/>
                </a:cubicBezTo>
                <a:lnTo>
                  <a:pt x="6724551" y="1271397"/>
                </a:lnTo>
                <a:cubicBezTo>
                  <a:pt x="6888000" y="906399"/>
                  <a:pt x="6724551" y="477901"/>
                  <a:pt x="6359553" y="314452"/>
                </a:cubicBezTo>
                <a:lnTo>
                  <a:pt x="5661307" y="0"/>
                </a:lnTo>
                <a:lnTo>
                  <a:pt x="12192000" y="0"/>
                </a:lnTo>
                <a:lnTo>
                  <a:pt x="12192000" y="6858000"/>
                </a:lnTo>
                <a:lnTo>
                  <a:pt x="0" y="6858000"/>
                </a:ln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2312988"/>
            <a:ext cx="4175709" cy="1179991"/>
          </a:xfrm>
        </p:spPr>
        <p:txBody>
          <a:bodyPr anchor="b"/>
          <a:lstStyle>
            <a:lvl1pPr>
              <a:defRPr sz="6400"/>
            </a:lvl1pPr>
          </a:lstStyle>
          <a:p>
            <a:r>
              <a:rPr lang="de-DE" noProof="0"/>
              <a:t>Title</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3708879"/>
            <a:ext cx="4175710" cy="2349021"/>
          </a:xfrm>
          <a:prstGeom prst="rect">
            <a:avLst/>
          </a:prstGeom>
        </p:spPr>
        <p:txBody>
          <a:bodyPr/>
          <a:lstStyle>
            <a:lvl1pPr marL="0" indent="0">
              <a:lnSpc>
                <a:spcPct val="100000"/>
              </a:lnSpc>
              <a:spcBef>
                <a:spcPts val="0"/>
              </a:spcBef>
              <a:spcAft>
                <a:spcPts val="0"/>
              </a:spcAft>
              <a:buFont typeface="Arial" panose="020B0604020202020204" pitchFamily="34" charset="0"/>
              <a:buNone/>
              <a:defRPr sz="3700" b="1" i="1" cap="none" baseline="0">
                <a:latin typeface="Barlow ExtraBold" pitchFamily="2" charset="77"/>
              </a:defRPr>
            </a:lvl1pPr>
            <a:lvl2pPr marL="0" indent="0">
              <a:lnSpc>
                <a:spcPct val="100000"/>
              </a:lnSpc>
              <a:spcBef>
                <a:spcPts val="0"/>
              </a:spcBef>
              <a:spcAft>
                <a:spcPts val="0"/>
              </a:spcAft>
              <a:buFont typeface="Arial" panose="020B0604020202020204" pitchFamily="34" charset="0"/>
              <a:buNone/>
              <a:defRPr sz="3700" b="1">
                <a:latin typeface="+mj-lt"/>
              </a:defRPr>
            </a:lvl2pPr>
            <a:lvl3pPr marL="0" indent="0">
              <a:lnSpc>
                <a:spcPct val="100000"/>
              </a:lnSpc>
              <a:spcBef>
                <a:spcPts val="0"/>
              </a:spcBef>
              <a:spcAft>
                <a:spcPts val="0"/>
              </a:spcAft>
              <a:buFont typeface="Arial" panose="020B0604020202020204" pitchFamily="34" charset="0"/>
              <a:buNone/>
              <a:defRPr sz="3700" b="1">
                <a:latin typeface="+mj-lt"/>
              </a:defRPr>
            </a:lvl3pPr>
            <a:lvl4pPr marL="0" indent="0">
              <a:lnSpc>
                <a:spcPct val="100000"/>
              </a:lnSpc>
              <a:spcBef>
                <a:spcPts val="0"/>
              </a:spcBef>
              <a:spcAft>
                <a:spcPts val="0"/>
              </a:spcAft>
              <a:buFont typeface="Arial" panose="020B0604020202020204" pitchFamily="34" charset="0"/>
              <a:buNone/>
              <a:defRPr sz="3700" b="1">
                <a:latin typeface="+mj-lt"/>
              </a:defRPr>
            </a:lvl4pPr>
            <a:lvl5pPr marL="0" indent="0">
              <a:lnSpc>
                <a:spcPct val="100000"/>
              </a:lnSpc>
              <a:spcBef>
                <a:spcPts val="0"/>
              </a:spcBef>
              <a:spcAft>
                <a:spcPts val="0"/>
              </a:spcAft>
              <a:buFont typeface="Arial" panose="020B0604020202020204" pitchFamily="34" charset="0"/>
              <a:buNone/>
              <a:defRPr sz="3700" b="0" cap="all" baseline="0">
                <a:latin typeface="Barlow Black" panose="00000A00000000000000" pitchFamily="2" charset="0"/>
              </a:defRPr>
            </a:lvl5pPr>
            <a:lvl6pPr marL="0" indent="0">
              <a:lnSpc>
                <a:spcPct val="100000"/>
              </a:lnSpc>
              <a:spcBef>
                <a:spcPts val="0"/>
              </a:spcBef>
              <a:spcAft>
                <a:spcPts val="0"/>
              </a:spcAft>
              <a:buFont typeface="Arial" panose="020B0604020202020204" pitchFamily="34" charset="0"/>
              <a:buNone/>
              <a:defRPr sz="3700" b="1">
                <a:latin typeface="+mj-lt"/>
              </a:defRPr>
            </a:lvl6pPr>
            <a:lvl7pPr marL="0" indent="0">
              <a:lnSpc>
                <a:spcPct val="100000"/>
              </a:lnSpc>
              <a:spcBef>
                <a:spcPts val="0"/>
              </a:spcBef>
              <a:spcAft>
                <a:spcPts val="0"/>
              </a:spcAft>
              <a:buFont typeface="Arial" panose="020B0604020202020204" pitchFamily="34" charset="0"/>
              <a:buNone/>
              <a:defRPr sz="3700" b="1">
                <a:latin typeface="+mj-lt"/>
              </a:defRPr>
            </a:lvl7pPr>
            <a:lvl8pPr marL="0" indent="0">
              <a:lnSpc>
                <a:spcPct val="100000"/>
              </a:lnSpc>
              <a:spcBef>
                <a:spcPts val="0"/>
              </a:spcBef>
              <a:spcAft>
                <a:spcPts val="0"/>
              </a:spcAft>
              <a:buFont typeface="Arial" panose="020B0604020202020204" pitchFamily="34" charset="0"/>
              <a:buNone/>
              <a:defRPr sz="3700" b="1">
                <a:latin typeface="+mj-lt"/>
              </a:defRPr>
            </a:lvl8pPr>
            <a:lvl9pPr marL="0" indent="0">
              <a:lnSpc>
                <a:spcPct val="100000"/>
              </a:lnSpc>
              <a:spcBef>
                <a:spcPts val="0"/>
              </a:spcBef>
              <a:spcAft>
                <a:spcPts val="0"/>
              </a:spcAft>
              <a:buFont typeface="Arial" panose="020B0604020202020204" pitchFamily="34" charset="0"/>
              <a:buNone/>
              <a:defRPr sz="3700" b="1">
                <a:latin typeface="+mj-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4"/>
            <a:endParaRPr lang="de-DE" noProof="0"/>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D56D9AFF-FDAD-41F9-A6B3-751E2DD942EE}"/>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728494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6" name="Bildplatzhalter 5"/>
          <p:cNvSpPr>
            <a:spLocks noGrp="1"/>
          </p:cNvSpPr>
          <p:nvPr>
            <p:ph type="pic" sz="quarter" idx="13" hasCustomPrompt="1"/>
          </p:nvPr>
        </p:nvSpPr>
        <p:spPr bwMode="gray">
          <a:xfrm>
            <a:off x="1092201" y="908051"/>
            <a:ext cx="10007600" cy="5149850"/>
          </a:xfrm>
          <a:prstGeom prst="roundRect">
            <a:avLst>
              <a:gd name="adj" fmla="val 778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Fußzeilenplatzhalter 1">
            <a:extLst>
              <a:ext uri="{FF2B5EF4-FFF2-40B4-BE49-F238E27FC236}">
                <a16:creationId xmlns:a16="http://schemas.microsoft.com/office/drawing/2014/main" id="{FE4DBAB3-E746-6A83-98BD-2932785473F0}"/>
              </a:ext>
            </a:extLst>
          </p:cNvPr>
          <p:cNvSpPr>
            <a:spLocks noGrp="1"/>
          </p:cNvSpPr>
          <p:nvPr>
            <p:ph type="ftr" sz="quarter" idx="14"/>
          </p:nvPr>
        </p:nvSpPr>
        <p:spPr bwMode="gray"/>
        <p:txBody>
          <a:bodyPr/>
          <a:lstStyle/>
          <a:p>
            <a:r>
              <a:rPr lang="de-DE"/>
              <a:t>Date dd.mm.yyyy  |  Security label</a:t>
            </a:r>
          </a:p>
        </p:txBody>
      </p:sp>
      <p:sp>
        <p:nvSpPr>
          <p:cNvPr id="4" name="Slide Number Placeholder 3">
            <a:extLst>
              <a:ext uri="{FF2B5EF4-FFF2-40B4-BE49-F238E27FC236}">
                <a16:creationId xmlns:a16="http://schemas.microsoft.com/office/drawing/2014/main" id="{4BA5BACB-A2E1-069E-DC6F-C7FEA31818AB}"/>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066886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5" name="Bildplatzhalter 5"/>
          <p:cNvSpPr>
            <a:spLocks noGrp="1"/>
          </p:cNvSpPr>
          <p:nvPr>
            <p:ph type="pic" sz="quarter" idx="13" hasCustomPrompt="1"/>
          </p:nvPr>
        </p:nvSpPr>
        <p:spPr bwMode="gray">
          <a:xfrm>
            <a:off x="0" y="0"/>
            <a:ext cx="12192000" cy="6858000"/>
          </a:xfrm>
          <a:prstGeom prst="rect">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Fußzeilenplatzhalter 1">
            <a:extLst>
              <a:ext uri="{FF2B5EF4-FFF2-40B4-BE49-F238E27FC236}">
                <a16:creationId xmlns:a16="http://schemas.microsoft.com/office/drawing/2014/main" id="{491EBA27-97B8-4F77-1B5D-64CCF637E2E1}"/>
              </a:ext>
            </a:extLst>
          </p:cNvPr>
          <p:cNvSpPr>
            <a:spLocks noGrp="1"/>
          </p:cNvSpPr>
          <p:nvPr>
            <p:ph type="ftr" sz="quarter" idx="14"/>
          </p:nvPr>
        </p:nvSpPr>
        <p:spPr bwMode="gray"/>
        <p:txBody>
          <a:bodyPr/>
          <a:lstStyle/>
          <a:p>
            <a:r>
              <a:rPr lang="de-DE"/>
              <a:t>Date dd.mm.yyyy  |  Security label</a:t>
            </a:r>
          </a:p>
        </p:txBody>
      </p:sp>
      <p:sp>
        <p:nvSpPr>
          <p:cNvPr id="4" name="Textplatzhalter 3">
            <a:extLst>
              <a:ext uri="{FF2B5EF4-FFF2-40B4-BE49-F238E27FC236}">
                <a16:creationId xmlns:a16="http://schemas.microsoft.com/office/drawing/2014/main" id="{EFB9F6C4-8549-66BA-5095-152C1D76F5D2}"/>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6" name="Slide Number Placeholder 5">
            <a:extLst>
              <a:ext uri="{FF2B5EF4-FFF2-40B4-BE49-F238E27FC236}">
                <a16:creationId xmlns:a16="http://schemas.microsoft.com/office/drawing/2014/main" id="{6FC075F3-7DE2-E6DC-F9B1-F639FB564873}"/>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454803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ation 1">
    <p:spTree>
      <p:nvGrpSpPr>
        <p:cNvPr id="1" name=""/>
        <p:cNvGrpSpPr/>
        <p:nvPr/>
      </p:nvGrpSpPr>
      <p:grpSpPr>
        <a:xfrm>
          <a:off x="0" y="0"/>
          <a:ext cx="0" cy="0"/>
          <a:chOff x="0" y="0"/>
          <a:chExt cx="0" cy="0"/>
        </a:xfrm>
      </p:grpSpPr>
      <p:sp>
        <p:nvSpPr>
          <p:cNvPr id="8" name="Freeform 5"/>
          <p:cNvSpPr>
            <a:spLocks noChangeAspect="1"/>
          </p:cNvSpPr>
          <p:nvPr userDrawn="1"/>
        </p:nvSpPr>
        <p:spPr bwMode="gray">
          <a:xfrm>
            <a:off x="1092200" y="908050"/>
            <a:ext cx="10007600" cy="4393158"/>
          </a:xfrm>
          <a:prstGeom prst="roundRect">
            <a:avLst>
              <a:gd name="adj" fmla="val 9048"/>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4" name="Textplatzhalter 3"/>
          <p:cNvSpPr>
            <a:spLocks noGrp="1"/>
          </p:cNvSpPr>
          <p:nvPr>
            <p:ph type="body" sz="quarter" idx="12" hasCustomPrompt="1"/>
          </p:nvPr>
        </p:nvSpPr>
        <p:spPr bwMode="gray">
          <a:xfrm>
            <a:off x="1092200" y="5480620"/>
            <a:ext cx="9108256" cy="936712"/>
          </a:xfrm>
          <a:prstGeom prst="rect">
            <a:avLst/>
          </a:prstGeom>
        </p:spPr>
        <p:txBody>
          <a:bodyPr wrap="square">
            <a:normAutofit/>
          </a:bodyPr>
          <a:lstStyle>
            <a:lvl1pPr marL="0" algn="r">
              <a:lnSpc>
                <a:spcPct val="100000"/>
              </a:lnSpc>
              <a:spcBef>
                <a:spcPts val="0"/>
              </a:spcBef>
              <a:spcAft>
                <a:spcPts val="0"/>
              </a:spcAft>
              <a:defRPr sz="2000">
                <a:solidFill>
                  <a:schemeClr val="tx1"/>
                </a:solidFill>
                <a:latin typeface="+mj-lt"/>
              </a:defRPr>
            </a:lvl1pPr>
            <a:lvl2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2pPr>
            <a:lvl3pPr marL="0" indent="0" algn="r">
              <a:lnSpc>
                <a:spcPct val="100000"/>
              </a:lnSpc>
              <a:spcBef>
                <a:spcPts val="0"/>
              </a:spcBef>
              <a:spcAft>
                <a:spcPts val="0"/>
              </a:spcAft>
              <a:buNone/>
              <a:defRPr sz="2000">
                <a:solidFill>
                  <a:schemeClr val="tx1"/>
                </a:solidFill>
                <a:latin typeface="+mn-lt"/>
              </a:defRPr>
            </a:lvl3pPr>
            <a:lvl4pPr marL="0" indent="0" algn="r">
              <a:lnSpc>
                <a:spcPct val="100000"/>
              </a:lnSpc>
              <a:spcBef>
                <a:spcPts val="0"/>
              </a:spcBef>
              <a:spcAft>
                <a:spcPts val="0"/>
              </a:spcAft>
              <a:buNone/>
              <a:defRPr sz="2000">
                <a:solidFill>
                  <a:schemeClr val="tx1"/>
                </a:solidFill>
                <a:latin typeface="+mn-lt"/>
              </a:defRPr>
            </a:lvl4pPr>
            <a:lvl5pPr marL="0" indent="0" algn="r">
              <a:lnSpc>
                <a:spcPct val="100000"/>
              </a:lnSpc>
              <a:spcBef>
                <a:spcPts val="0"/>
              </a:spcBef>
              <a:spcAft>
                <a:spcPts val="0"/>
              </a:spcAft>
              <a:buNone/>
              <a:defRPr sz="2000">
                <a:solidFill>
                  <a:schemeClr val="tx1"/>
                </a:solidFill>
                <a:latin typeface="+mn-lt"/>
              </a:defRPr>
            </a:lvl5pPr>
            <a:lvl6pPr marL="0" indent="0" algn="r">
              <a:lnSpc>
                <a:spcPct val="100000"/>
              </a:lnSpc>
              <a:spcBef>
                <a:spcPts val="0"/>
              </a:spcBef>
              <a:spcAft>
                <a:spcPts val="0"/>
              </a:spcAft>
              <a:buNone/>
              <a:defRPr sz="2000">
                <a:solidFill>
                  <a:schemeClr val="tx1"/>
                </a:solidFill>
                <a:latin typeface="+mn-lt"/>
              </a:defRPr>
            </a:lvl6pPr>
            <a:lvl7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7pPr>
            <a:lvl8pPr marL="0" indent="0" algn="r">
              <a:lnSpc>
                <a:spcPct val="100000"/>
              </a:lnSpc>
              <a:spcBef>
                <a:spcPts val="0"/>
              </a:spcBef>
              <a:spcAft>
                <a:spcPts val="0"/>
              </a:spcAft>
              <a:buNone/>
              <a:defRPr sz="2000">
                <a:solidFill>
                  <a:schemeClr val="tx1"/>
                </a:solidFill>
                <a:latin typeface="+mn-lt"/>
              </a:defRPr>
            </a:lvl8pPr>
            <a:lvl9pPr marL="0" indent="0" algn="r">
              <a:lnSpc>
                <a:spcPct val="100000"/>
              </a:lnSpc>
              <a:spcBef>
                <a:spcPts val="0"/>
              </a:spcBef>
              <a:spcAft>
                <a:spcPts val="0"/>
              </a:spcAft>
              <a:buNone/>
              <a:defRPr sz="2000">
                <a:solidFill>
                  <a:schemeClr val="tx1"/>
                </a:solidFill>
                <a:latin typeface="+mn-lt"/>
              </a:defRPr>
            </a:lvl9pPr>
          </a:lstStyle>
          <a:p>
            <a:pPr lvl="0"/>
            <a:r>
              <a:rPr lang="de-DE" noProof="0"/>
              <a:t>First name, Surname</a:t>
            </a:r>
          </a:p>
          <a:p>
            <a:pPr lvl="1"/>
            <a:br>
              <a:rPr lang="de-DE" noProof="0"/>
            </a:br>
            <a:r>
              <a:rPr lang="de-DE" noProof="0"/>
              <a:t>2. level</a:t>
            </a:r>
          </a:p>
          <a:p>
            <a:pPr lvl="1"/>
            <a:endParaRPr lang="de-DE" noProof="0"/>
          </a:p>
        </p:txBody>
      </p:sp>
      <p:sp>
        <p:nvSpPr>
          <p:cNvPr id="3" name="Fußzeilenplatzhalter 2">
            <a:extLst>
              <a:ext uri="{FF2B5EF4-FFF2-40B4-BE49-F238E27FC236}">
                <a16:creationId xmlns:a16="http://schemas.microsoft.com/office/drawing/2014/main" id="{D1B96093-51C2-16CD-6F32-CB756C0AB19D}"/>
              </a:ext>
            </a:extLst>
          </p:cNvPr>
          <p:cNvSpPr>
            <a:spLocks noGrp="1"/>
          </p:cNvSpPr>
          <p:nvPr>
            <p:ph type="ftr" sz="quarter" idx="13"/>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8ED8EC94-E4A7-BA07-10A4-30F145E7268E}"/>
              </a:ext>
            </a:extLst>
          </p:cNvPr>
          <p:cNvSpPr>
            <a:spLocks noGrp="1"/>
          </p:cNvSpPr>
          <p:nvPr>
            <p:ph type="subTitle" idx="15" hasCustomPrompt="1"/>
          </p:nvPr>
        </p:nvSpPr>
        <p:spPr bwMode="gray">
          <a:xfrm>
            <a:off x="1955540" y="1520789"/>
            <a:ext cx="8424936" cy="3456384"/>
          </a:xfrm>
          <a:prstGeom prst="rect">
            <a:avLst/>
          </a:prstGeom>
          <a:noFill/>
        </p:spPr>
        <p:txBody>
          <a:bodyPr wrap="square" lIns="0" tIns="0" rIns="0" bIns="0">
            <a:normAutofit/>
          </a:bodyPr>
          <a:lstStyle>
            <a:lvl1pPr marL="0" indent="0" algn="l">
              <a:lnSpc>
                <a:spcPct val="100000"/>
              </a:lnSpc>
              <a:spcBef>
                <a:spcPts val="0"/>
              </a:spcBef>
              <a:spcAft>
                <a:spcPts val="600"/>
              </a:spcAft>
              <a:buNone/>
              <a:defRPr sz="3700" b="1" i="1" cap="none" baseline="0">
                <a:solidFill>
                  <a:schemeClr val="bg1"/>
                </a:solidFill>
                <a:latin typeface="Barlow ExtraBold" pitchFamily="2" charset="77"/>
              </a:defRPr>
            </a:lvl1pPr>
            <a:lvl2pPr marL="0" indent="0" algn="l">
              <a:lnSpc>
                <a:spcPct val="100000"/>
              </a:lnSpc>
              <a:spcBef>
                <a:spcPts val="0"/>
              </a:spcBef>
              <a:spcAft>
                <a:spcPts val="0"/>
              </a:spcAft>
              <a:buNone/>
              <a:defRPr sz="3700" b="0" i="1">
                <a:solidFill>
                  <a:schemeClr val="bg1"/>
                </a:solidFill>
                <a:latin typeface="Barlow Medium" panose="00000600000000000000" pitchFamily="2" charset="0"/>
              </a:defRPr>
            </a:lvl2pPr>
            <a:lvl3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3pPr>
            <a:lvl4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4pPr>
            <a:lvl5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5pPr>
            <a:lvl6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6pPr>
            <a:lvl7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7pPr>
            <a:lvl8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8pPr>
            <a:lvl9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9pPr>
          </a:lstStyle>
          <a:p>
            <a:pPr lvl="0"/>
            <a:r>
              <a:rPr lang="de-DE" noProof="0"/>
              <a:t>Use This Field </a:t>
            </a:r>
            <a:r>
              <a:rPr lang="de-DE" noProof="0" err="1"/>
              <a:t>To</a:t>
            </a:r>
            <a:r>
              <a:rPr lang="de-DE" noProof="0"/>
              <a:t> Enter Text.</a:t>
            </a:r>
          </a:p>
          <a:p>
            <a:pPr lvl="1"/>
            <a:r>
              <a:rPr lang="de-DE" noProof="0"/>
              <a:t>2. Level</a:t>
            </a:r>
          </a:p>
        </p:txBody>
      </p:sp>
      <p:pic>
        <p:nvPicPr>
          <p:cNvPr id="11" name="Grafik 10">
            <a:extLst>
              <a:ext uri="{FF2B5EF4-FFF2-40B4-BE49-F238E27FC236}">
                <a16:creationId xmlns:a16="http://schemas.microsoft.com/office/drawing/2014/main" id="{E4271796-653F-2AC4-897F-DF2D19EDE5B3}"/>
              </a:ext>
            </a:extLst>
          </p:cNvPr>
          <p:cNvPicPr>
            <a:picLocks noChangeAspect="1"/>
          </p:cNvPicPr>
          <p:nvPr userDrawn="1"/>
        </p:nvPicPr>
        <p:blipFill>
          <a:blip r:embed="rId2"/>
          <a:stretch>
            <a:fillRect/>
          </a:stretch>
        </p:blipFill>
        <p:spPr bwMode="gray">
          <a:xfrm>
            <a:off x="8652460" y="439926"/>
            <a:ext cx="1584000" cy="1008854"/>
          </a:xfrm>
          <a:prstGeom prst="rect">
            <a:avLst/>
          </a:prstGeom>
        </p:spPr>
      </p:pic>
      <p:sp>
        <p:nvSpPr>
          <p:cNvPr id="2" name="Slide Number Placeholder 1">
            <a:extLst>
              <a:ext uri="{FF2B5EF4-FFF2-40B4-BE49-F238E27FC236}">
                <a16:creationId xmlns:a16="http://schemas.microsoft.com/office/drawing/2014/main" id="{C964E8F5-BCE4-25FF-A4DD-1744D694C063}"/>
              </a:ext>
            </a:extLst>
          </p:cNvPr>
          <p:cNvSpPr>
            <a:spLocks noGrp="1"/>
          </p:cNvSpPr>
          <p:nvPr>
            <p:ph type="sldNum" sz="quarter" idx="16"/>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211381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 | One column">
    <p:bg>
      <p:bgPr>
        <a:solidFill>
          <a:schemeClr val="accent1"/>
        </a:solidFill>
        <a:effectLst/>
      </p:bgPr>
    </p:bg>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744912"/>
          </a:xfrm>
          <a:prstGeom prst="rect">
            <a:avLst/>
          </a:prstGeom>
        </p:spPr>
        <p:txBody>
          <a:bodyPr wrap="square" numCol="1" spcCol="432000"/>
          <a:lstStyle>
            <a:lvl1pPr marL="457200" indent="-457200">
              <a:lnSpc>
                <a:spcPct val="110000"/>
              </a:lnSpc>
              <a:spcBef>
                <a:spcPts val="1800"/>
              </a:spcBef>
              <a:spcAft>
                <a:spcPts val="0"/>
              </a:spcAft>
              <a:buSzPct val="150000"/>
              <a:buFont typeface="+mj-lt"/>
              <a:buAutoNum type="arabicPeriod"/>
              <a:tabLst>
                <a:tab pos="449263" algn="l"/>
              </a:tabLst>
              <a:defRPr sz="2500" b="1">
                <a:solidFill>
                  <a:schemeClr val="bg1"/>
                </a:solidFill>
                <a:latin typeface="+mj-lt"/>
              </a:defRPr>
            </a:lvl1pPr>
            <a:lvl2pPr marL="450000" indent="-450000">
              <a:lnSpc>
                <a:spcPct val="110000"/>
              </a:lnSpc>
              <a:spcBef>
                <a:spcPts val="600"/>
              </a:spcBef>
              <a:spcAft>
                <a:spcPts val="0"/>
              </a:spcAft>
              <a:buFont typeface="+mj-lt"/>
              <a:buNone/>
              <a:tabLst/>
              <a:defRPr sz="2000" b="0">
                <a:solidFill>
                  <a:schemeClr val="bg1"/>
                </a:solidFill>
                <a:latin typeface="+mj-lt"/>
              </a:defRPr>
            </a:lvl2pPr>
            <a:lvl3pPr marL="450000" indent="-450000">
              <a:lnSpc>
                <a:spcPct val="110000"/>
              </a:lnSpc>
              <a:spcBef>
                <a:spcPts val="600"/>
              </a:spcBef>
              <a:spcAft>
                <a:spcPts val="0"/>
              </a:spcAft>
              <a:buFont typeface="+mj-lt"/>
              <a:buNone/>
              <a:tabLst/>
              <a:defRPr sz="2000" b="0">
                <a:solidFill>
                  <a:schemeClr val="bg1"/>
                </a:solidFill>
                <a:latin typeface="+mj-lt"/>
              </a:defRPr>
            </a:lvl3pPr>
            <a:lvl4pPr marL="450000" indent="-450000">
              <a:lnSpc>
                <a:spcPct val="110000"/>
              </a:lnSpc>
              <a:spcBef>
                <a:spcPts val="600"/>
              </a:spcBef>
              <a:spcAft>
                <a:spcPts val="0"/>
              </a:spcAft>
              <a:buFont typeface="+mj-lt"/>
              <a:buNone/>
              <a:tabLst/>
              <a:defRPr sz="2000" b="0">
                <a:solidFill>
                  <a:schemeClr val="bg1"/>
                </a:solidFill>
                <a:latin typeface="+mj-lt"/>
              </a:defRPr>
            </a:lvl4pPr>
            <a:lvl5pPr marL="450000" indent="-450000">
              <a:lnSpc>
                <a:spcPct val="110000"/>
              </a:lnSpc>
              <a:spcBef>
                <a:spcPts val="600"/>
              </a:spcBef>
              <a:spcAft>
                <a:spcPts val="0"/>
              </a:spcAft>
              <a:buFont typeface="+mj-lt"/>
              <a:buNone/>
              <a:tabLst/>
              <a:defRPr sz="2000" b="0">
                <a:solidFill>
                  <a:schemeClr val="bg1"/>
                </a:solidFill>
                <a:latin typeface="+mj-lt"/>
              </a:defRPr>
            </a:lvl5pPr>
            <a:lvl6pPr marL="450000" indent="-450000">
              <a:lnSpc>
                <a:spcPct val="110000"/>
              </a:lnSpc>
              <a:spcBef>
                <a:spcPts val="600"/>
              </a:spcBef>
              <a:spcAft>
                <a:spcPts val="0"/>
              </a:spcAft>
              <a:buFont typeface="+mj-lt"/>
              <a:buNone/>
              <a:tabLst>
                <a:tab pos="449263" algn="l"/>
              </a:tabLst>
              <a:defRPr sz="2000">
                <a:solidFill>
                  <a:schemeClr val="bg1"/>
                </a:solidFill>
                <a:latin typeface="+mj-lt"/>
              </a:defRPr>
            </a:lvl6pPr>
            <a:lvl7pPr marL="450000" indent="-450000">
              <a:lnSpc>
                <a:spcPct val="110000"/>
              </a:lnSpc>
              <a:spcBef>
                <a:spcPts val="600"/>
              </a:spcBef>
              <a:spcAft>
                <a:spcPts val="0"/>
              </a:spcAft>
              <a:buNone/>
              <a:tabLst>
                <a:tab pos="449263" algn="l"/>
              </a:tabLst>
              <a:defRPr sz="2000">
                <a:solidFill>
                  <a:schemeClr val="bg1"/>
                </a:solidFill>
                <a:latin typeface="+mj-lt"/>
              </a:defRPr>
            </a:lvl7pPr>
            <a:lvl8pPr marL="450000" indent="-450000">
              <a:lnSpc>
                <a:spcPct val="110000"/>
              </a:lnSpc>
              <a:spcBef>
                <a:spcPts val="600"/>
              </a:spcBef>
              <a:spcAft>
                <a:spcPts val="0"/>
              </a:spcAft>
              <a:buFont typeface="+mj-lt"/>
              <a:buNone/>
              <a:tabLst>
                <a:tab pos="449263" algn="l"/>
              </a:tabLst>
              <a:defRPr sz="2000">
                <a:solidFill>
                  <a:schemeClr val="bg1"/>
                </a:solidFill>
                <a:latin typeface="+mj-lt"/>
              </a:defRPr>
            </a:lvl8pPr>
            <a:lvl9pPr marL="450000" indent="-450000">
              <a:lnSpc>
                <a:spcPct val="110000"/>
              </a:lnSpc>
              <a:spcBef>
                <a:spcPts val="600"/>
              </a:spcBef>
              <a:spcAft>
                <a:spcPts val="0"/>
              </a:spcAft>
              <a:buFont typeface="+mj-lt"/>
              <a:buNone/>
              <a:tabLst>
                <a:tab pos="449263" algn="l"/>
              </a:tabLst>
              <a:defRPr sz="2000">
                <a:solidFill>
                  <a:schemeClr val="bg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3" name="Fußzeilenplatzhalter 2">
            <a:extLst>
              <a:ext uri="{FF2B5EF4-FFF2-40B4-BE49-F238E27FC236}">
                <a16:creationId xmlns:a16="http://schemas.microsoft.com/office/drawing/2014/main" id="{6FCB8DCE-EA7C-B70E-9EE8-18C529B32104}"/>
              </a:ext>
            </a:extLst>
          </p:cNvPr>
          <p:cNvSpPr>
            <a:spLocks noGrp="1"/>
          </p:cNvSpPr>
          <p:nvPr>
            <p:ph type="ftr" sz="quarter" idx="13"/>
          </p:nvPr>
        </p:nvSpPr>
        <p:spPr bwMode="gray"/>
        <p:txBody>
          <a:bodyPr/>
          <a:lstStyle>
            <a:lvl1pPr>
              <a:defRPr>
                <a:solidFill>
                  <a:schemeClr val="bg1"/>
                </a:solidFill>
              </a:defRPr>
            </a:lvl1pPr>
          </a:lstStyle>
          <a:p>
            <a:r>
              <a:rPr lang="de-DE"/>
              <a:t>Date dd.mm.yyyy  |  Security label</a:t>
            </a:r>
          </a:p>
        </p:txBody>
      </p:sp>
      <p:sp>
        <p:nvSpPr>
          <p:cNvPr id="10" name="Titel 9">
            <a:extLst>
              <a:ext uri="{FF2B5EF4-FFF2-40B4-BE49-F238E27FC236}">
                <a16:creationId xmlns:a16="http://schemas.microsoft.com/office/drawing/2014/main" id="{9BC260D5-1FBD-B1A8-E74B-2F6870E6D0BD}"/>
              </a:ext>
            </a:extLst>
          </p:cNvPr>
          <p:cNvSpPr>
            <a:spLocks noGrp="1"/>
          </p:cNvSpPr>
          <p:nvPr>
            <p:ph type="title" hasCustomPrompt="1"/>
          </p:nvPr>
        </p:nvSpPr>
        <p:spPr bwMode="gray"/>
        <p:txBody>
          <a:bodyPr/>
          <a:lstStyle>
            <a:lvl1pPr>
              <a:defRPr>
                <a:solidFill>
                  <a:schemeClr val="bg1"/>
                </a:solidFill>
              </a:defRPr>
            </a:lvl1pPr>
          </a:lstStyle>
          <a:p>
            <a:r>
              <a:rPr lang="de-DE" err="1"/>
              <a:t>Heading</a:t>
            </a:r>
            <a:r>
              <a:rPr lang="de-DE"/>
              <a:t> (</a:t>
            </a:r>
            <a:r>
              <a:rPr lang="de-DE" err="1"/>
              <a:t>one</a:t>
            </a:r>
            <a:r>
              <a:rPr lang="de-DE"/>
              <a:t> </a:t>
            </a:r>
            <a:r>
              <a:rPr lang="de-DE" err="1"/>
              <a:t>line</a:t>
            </a:r>
            <a:r>
              <a:rPr lang="de-DE"/>
              <a:t>)</a:t>
            </a:r>
          </a:p>
        </p:txBody>
      </p:sp>
      <p:sp>
        <p:nvSpPr>
          <p:cNvPr id="6" name="Slide Number Placeholder 5">
            <a:extLst>
              <a:ext uri="{FF2B5EF4-FFF2-40B4-BE49-F238E27FC236}">
                <a16:creationId xmlns:a16="http://schemas.microsoft.com/office/drawing/2014/main" id="{ED768CD4-FEEE-DA3F-9363-E85267DD0A16}"/>
              </a:ext>
            </a:extLst>
          </p:cNvPr>
          <p:cNvSpPr>
            <a:spLocks noGrp="1"/>
          </p:cNvSpPr>
          <p:nvPr>
            <p:ph type="sldNum" sz="quarter" idx="14"/>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4" name="Freihandform: Form 459">
            <a:extLst>
              <a:ext uri="{FF2B5EF4-FFF2-40B4-BE49-F238E27FC236}">
                <a16:creationId xmlns:a16="http://schemas.microsoft.com/office/drawing/2014/main" id="{47379F18-9F59-EC13-7CBA-6C9CB36D656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33503327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urpose | dark">
    <p:bg>
      <p:bgPr>
        <a:solidFill>
          <a:schemeClr val="accent1"/>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252"/>
            <a:ext cx="7416800" cy="3024944"/>
          </a:xfrm>
          <a:prstGeom prst="rect">
            <a:avLst/>
          </a:prstGeom>
        </p:spPr>
        <p:txBody>
          <a:bodyPr/>
          <a:lstStyle>
            <a:lvl1pPr marL="0">
              <a:lnSpc>
                <a:spcPct val="100000"/>
              </a:lnSpc>
              <a:spcBef>
                <a:spcPts val="0"/>
              </a:spcBef>
              <a:spcAft>
                <a:spcPts val="0"/>
              </a:spcAft>
              <a:defRPr sz="3700" b="1">
                <a:solidFill>
                  <a:schemeClr val="bg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bg1"/>
                </a:solidFill>
                <a:latin typeface="Barlow Black" panose="00000A00000000000000" pitchFamily="2" charset="0"/>
              </a:defRPr>
            </a:lvl2pPr>
            <a:lvl3pPr marL="0" indent="0">
              <a:lnSpc>
                <a:spcPct val="100000"/>
              </a:lnSpc>
              <a:spcBef>
                <a:spcPts val="0"/>
              </a:spcBef>
              <a:spcAft>
                <a:spcPts val="0"/>
              </a:spcAft>
              <a:buNone/>
              <a:defRPr sz="3700" b="1">
                <a:solidFill>
                  <a:schemeClr val="bg1"/>
                </a:solidFill>
                <a:latin typeface="+mn-lt"/>
              </a:defRPr>
            </a:lvl3pPr>
            <a:lvl4pPr marL="0" indent="0">
              <a:lnSpc>
                <a:spcPct val="100000"/>
              </a:lnSpc>
              <a:spcBef>
                <a:spcPts val="0"/>
              </a:spcBef>
              <a:spcAft>
                <a:spcPts val="0"/>
              </a:spcAft>
              <a:buNone/>
              <a:defRPr sz="3700" b="1">
                <a:solidFill>
                  <a:schemeClr val="bg1"/>
                </a:solidFill>
                <a:latin typeface="+mn-lt"/>
              </a:defRPr>
            </a:lvl4pPr>
            <a:lvl5pPr marL="0" indent="0">
              <a:lnSpc>
                <a:spcPct val="100000"/>
              </a:lnSpc>
              <a:spcBef>
                <a:spcPts val="0"/>
              </a:spcBef>
              <a:spcAft>
                <a:spcPts val="0"/>
              </a:spcAft>
              <a:buNone/>
              <a:defRPr sz="3700" b="1">
                <a:solidFill>
                  <a:schemeClr val="bg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160"/>
            <a:ext cx="7416800" cy="604039"/>
          </a:xfrm>
        </p:spPr>
        <p:txBody>
          <a:bodyPr anchor="b"/>
          <a:lstStyle>
            <a:lvl1pPr>
              <a:defRPr>
                <a:solidFill>
                  <a:schemeClr val="bg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chemeClr val="bg1"/>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FA2A1114-59DC-816E-742C-17694F0BECD5}"/>
              </a:ext>
            </a:extLst>
          </p:cNvPr>
          <p:cNvSpPr>
            <a:spLocks noGrp="1"/>
          </p:cNvSpPr>
          <p:nvPr>
            <p:ph type="sldNum" sz="quarter" idx="20"/>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6" name="Freihandform: Form 459">
            <a:extLst>
              <a:ext uri="{FF2B5EF4-FFF2-40B4-BE49-F238E27FC236}">
                <a16:creationId xmlns:a16="http://schemas.microsoft.com/office/drawing/2014/main" id="{A75B66C5-E1A9-16DE-708B-5B5637D9FD4C}"/>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44111950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urpose | light">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860"/>
            <a:ext cx="7416800" cy="3024944"/>
          </a:xfrm>
          <a:prstGeom prst="rect">
            <a:avLst/>
          </a:prstGeom>
        </p:spPr>
        <p:txBody>
          <a:bodyPr/>
          <a:lstStyle>
            <a:lvl1pPr marL="0">
              <a:lnSpc>
                <a:spcPct val="100000"/>
              </a:lnSpc>
              <a:spcBef>
                <a:spcPts val="0"/>
              </a:spcBef>
              <a:spcAft>
                <a:spcPts val="0"/>
              </a:spcAft>
              <a:defRPr sz="3700" b="1">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accent1"/>
                </a:solidFill>
                <a:latin typeface="Barlow Black" panose="00000A00000000000000" pitchFamily="2" charset="0"/>
              </a:defRPr>
            </a:lvl2pPr>
            <a:lvl3pPr marL="0" indent="0">
              <a:lnSpc>
                <a:spcPct val="100000"/>
              </a:lnSpc>
              <a:spcBef>
                <a:spcPts val="0"/>
              </a:spcBef>
              <a:spcAft>
                <a:spcPts val="0"/>
              </a:spcAft>
              <a:buNone/>
              <a:defRPr sz="3700" b="1">
                <a:solidFill>
                  <a:schemeClr val="accent1"/>
                </a:solidFill>
                <a:latin typeface="+mn-lt"/>
              </a:defRPr>
            </a:lvl3pPr>
            <a:lvl4pPr marL="0" indent="0">
              <a:lnSpc>
                <a:spcPct val="100000"/>
              </a:lnSpc>
              <a:spcBef>
                <a:spcPts val="0"/>
              </a:spcBef>
              <a:spcAft>
                <a:spcPts val="0"/>
              </a:spcAft>
              <a:buNone/>
              <a:defRPr sz="3700" b="1">
                <a:solidFill>
                  <a:schemeClr val="accent1"/>
                </a:solidFill>
                <a:latin typeface="+mn-lt"/>
              </a:defRPr>
            </a:lvl4pPr>
            <a:lvl5pPr marL="0" indent="0">
              <a:lnSpc>
                <a:spcPct val="100000"/>
              </a:lnSpc>
              <a:spcBef>
                <a:spcPts val="0"/>
              </a:spcBef>
              <a:spcAft>
                <a:spcPts val="0"/>
              </a:spcAft>
              <a:buNone/>
              <a:defRPr sz="3700" b="1">
                <a:solidFill>
                  <a:schemeClr val="accent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768"/>
            <a:ext cx="7416800" cy="604039"/>
          </a:xfrm>
        </p:spPr>
        <p:txBody>
          <a:bodyPr anchor="b"/>
          <a:lstStyle>
            <a:lvl1pPr>
              <a:defRPr>
                <a:solidFill>
                  <a:schemeClr val="accent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rgbClr val="9BA4BF"/>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B8F17EC0-7F3B-D926-1103-5BC8D91BF50E}"/>
              </a:ext>
            </a:extLst>
          </p:cNvPr>
          <p:cNvSpPr>
            <a:spLocks noGrp="1"/>
          </p:cNvSpPr>
          <p:nvPr>
            <p:ph type="sldNum" sz="quarter" idx="20"/>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67325223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ferences">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375394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8" name="Titel 7">
            <a:extLst>
              <a:ext uri="{FF2B5EF4-FFF2-40B4-BE49-F238E27FC236}">
                <a16:creationId xmlns:a16="http://schemas.microsoft.com/office/drawing/2014/main" id="{94CF4134-52D6-5A53-882B-A2A4F66E9207}"/>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680C35BA-5B71-231F-097B-D70932EE35D2}"/>
              </a:ext>
            </a:extLst>
          </p:cNvPr>
          <p:cNvSpPr>
            <a:spLocks noGrp="1"/>
          </p:cNvSpPr>
          <p:nvPr>
            <p:ph type="sldNum" sz="quarter" idx="11"/>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09853100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4931792"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306034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4" name="Bildplatzhalter 13">
            <a:extLst>
              <a:ext uri="{FF2B5EF4-FFF2-40B4-BE49-F238E27FC236}">
                <a16:creationId xmlns:a16="http://schemas.microsoft.com/office/drawing/2014/main" id="{FCD1CA3E-9379-0838-1C25-99BFACCAF14E}"/>
              </a:ext>
            </a:extLst>
          </p:cNvPr>
          <p:cNvSpPr>
            <a:spLocks noGrp="1"/>
          </p:cNvSpPr>
          <p:nvPr>
            <p:ph type="pic" sz="quarter" idx="14" hasCustomPrompt="1"/>
          </p:nvPr>
        </p:nvSpPr>
        <p:spPr bwMode="gray">
          <a:xfrm>
            <a:off x="-1" y="0"/>
            <a:ext cx="12192000" cy="6858000"/>
          </a:xfrm>
          <a:custGeom>
            <a:avLst/>
            <a:gdLst>
              <a:gd name="connsiteX0" fmla="*/ 0 w 12192000"/>
              <a:gd name="connsiteY0" fmla="*/ 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0 w 12192000"/>
              <a:gd name="connsiteY0" fmla="*/ 685800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366650 w 12558650"/>
              <a:gd name="connsiteY0" fmla="*/ 6858000 h 6858000"/>
              <a:gd name="connsiteX1" fmla="*/ 366651 w 12558650"/>
              <a:gd name="connsiteY1" fmla="*/ 6592951 h 6858000"/>
              <a:gd name="connsiteX2" fmla="*/ 440946 w 12558650"/>
              <a:gd name="connsiteY2" fmla="*/ 6584443 h 6858000"/>
              <a:gd name="connsiteX3" fmla="*/ 518797 w 12558650"/>
              <a:gd name="connsiteY3" fmla="*/ 6575679 h 6858000"/>
              <a:gd name="connsiteX4" fmla="*/ 518670 w 12558650"/>
              <a:gd name="connsiteY4" fmla="*/ 6575679 h 6858000"/>
              <a:gd name="connsiteX5" fmla="*/ 596394 w 12558650"/>
              <a:gd name="connsiteY5" fmla="*/ 6566916 h 6858000"/>
              <a:gd name="connsiteX6" fmla="*/ 674245 w 12558650"/>
              <a:gd name="connsiteY6" fmla="*/ 6558153 h 6858000"/>
              <a:gd name="connsiteX7" fmla="*/ 751969 w 12558650"/>
              <a:gd name="connsiteY7" fmla="*/ 6549390 h 6858000"/>
              <a:gd name="connsiteX8" fmla="*/ 829820 w 12558650"/>
              <a:gd name="connsiteY8" fmla="*/ 6540627 h 6858000"/>
              <a:gd name="connsiteX9" fmla="*/ 907671 w 12558650"/>
              <a:gd name="connsiteY9" fmla="*/ 6531864 h 6858000"/>
              <a:gd name="connsiteX10" fmla="*/ 985395 w 12558650"/>
              <a:gd name="connsiteY10" fmla="*/ 6523101 h 6858000"/>
              <a:gd name="connsiteX11" fmla="*/ 1063246 w 12558650"/>
              <a:gd name="connsiteY11" fmla="*/ 6514338 h 6858000"/>
              <a:gd name="connsiteX12" fmla="*/ 1140970 w 12558650"/>
              <a:gd name="connsiteY12" fmla="*/ 6505575 h 6858000"/>
              <a:gd name="connsiteX13" fmla="*/ 1218694 w 12558650"/>
              <a:gd name="connsiteY13" fmla="*/ 6496812 h 6858000"/>
              <a:gd name="connsiteX14" fmla="*/ 1296545 w 12558650"/>
              <a:gd name="connsiteY14" fmla="*/ 6488049 h 6858000"/>
              <a:gd name="connsiteX15" fmla="*/ 1374269 w 12558650"/>
              <a:gd name="connsiteY15" fmla="*/ 6479286 h 6858000"/>
              <a:gd name="connsiteX16" fmla="*/ 1452120 w 12558650"/>
              <a:gd name="connsiteY16" fmla="*/ 6470523 h 6858000"/>
              <a:gd name="connsiteX17" fmla="*/ 1529844 w 12558650"/>
              <a:gd name="connsiteY17" fmla="*/ 6461760 h 6858000"/>
              <a:gd name="connsiteX18" fmla="*/ 1607695 w 12558650"/>
              <a:gd name="connsiteY18" fmla="*/ 6452997 h 6858000"/>
              <a:gd name="connsiteX19" fmla="*/ 1685419 w 12558650"/>
              <a:gd name="connsiteY19" fmla="*/ 6444234 h 6858000"/>
              <a:gd name="connsiteX20" fmla="*/ 1763270 w 12558650"/>
              <a:gd name="connsiteY20" fmla="*/ 6435471 h 6858000"/>
              <a:gd name="connsiteX21" fmla="*/ 1841121 w 12558650"/>
              <a:gd name="connsiteY21" fmla="*/ 6426708 h 6858000"/>
              <a:gd name="connsiteX22" fmla="*/ 1918845 w 12558650"/>
              <a:gd name="connsiteY22" fmla="*/ 6417945 h 6858000"/>
              <a:gd name="connsiteX23" fmla="*/ 1996696 w 12558650"/>
              <a:gd name="connsiteY23" fmla="*/ 6409182 h 6858000"/>
              <a:gd name="connsiteX24" fmla="*/ 2074420 w 12558650"/>
              <a:gd name="connsiteY24" fmla="*/ 6400419 h 6858000"/>
              <a:gd name="connsiteX25" fmla="*/ 2152144 w 12558650"/>
              <a:gd name="connsiteY25" fmla="*/ 6391656 h 6858000"/>
              <a:gd name="connsiteX26" fmla="*/ 2229995 w 12558650"/>
              <a:gd name="connsiteY26" fmla="*/ 6382893 h 6858000"/>
              <a:gd name="connsiteX27" fmla="*/ 2307719 w 12558650"/>
              <a:gd name="connsiteY27" fmla="*/ 6374130 h 6858000"/>
              <a:gd name="connsiteX28" fmla="*/ 2385570 w 12558650"/>
              <a:gd name="connsiteY28" fmla="*/ 6365367 h 6858000"/>
              <a:gd name="connsiteX29" fmla="*/ 2463294 w 12558650"/>
              <a:gd name="connsiteY29" fmla="*/ 6356604 h 6858000"/>
              <a:gd name="connsiteX30" fmla="*/ 2541145 w 12558650"/>
              <a:gd name="connsiteY30" fmla="*/ 6347841 h 6858000"/>
              <a:gd name="connsiteX31" fmla="*/ 2618869 w 12558650"/>
              <a:gd name="connsiteY31" fmla="*/ 6339078 h 6858000"/>
              <a:gd name="connsiteX32" fmla="*/ 2696720 w 12558650"/>
              <a:gd name="connsiteY32" fmla="*/ 6330315 h 6858000"/>
              <a:gd name="connsiteX33" fmla="*/ 2774444 w 12558650"/>
              <a:gd name="connsiteY33" fmla="*/ 6321552 h 6858000"/>
              <a:gd name="connsiteX34" fmla="*/ 2852295 w 12558650"/>
              <a:gd name="connsiteY34" fmla="*/ 6312789 h 6858000"/>
              <a:gd name="connsiteX35" fmla="*/ 2930146 w 12558650"/>
              <a:gd name="connsiteY35" fmla="*/ 6304026 h 6858000"/>
              <a:gd name="connsiteX36" fmla="*/ 3007870 w 12558650"/>
              <a:gd name="connsiteY36" fmla="*/ 6295263 h 6858000"/>
              <a:gd name="connsiteX37" fmla="*/ 3085721 w 12558650"/>
              <a:gd name="connsiteY37" fmla="*/ 6286500 h 6858000"/>
              <a:gd name="connsiteX38" fmla="*/ 3163572 w 12558650"/>
              <a:gd name="connsiteY38" fmla="*/ 6277737 h 6858000"/>
              <a:gd name="connsiteX39" fmla="*/ 3241296 w 12558650"/>
              <a:gd name="connsiteY39" fmla="*/ 6268974 h 6858000"/>
              <a:gd name="connsiteX40" fmla="*/ 3319020 w 12558650"/>
              <a:gd name="connsiteY40" fmla="*/ 6260211 h 6858000"/>
              <a:gd name="connsiteX41" fmla="*/ 3396871 w 12558650"/>
              <a:gd name="connsiteY41" fmla="*/ 6251448 h 6858000"/>
              <a:gd name="connsiteX42" fmla="*/ 3474722 w 12558650"/>
              <a:gd name="connsiteY42" fmla="*/ 6242685 h 6858000"/>
              <a:gd name="connsiteX43" fmla="*/ 3552446 w 12558650"/>
              <a:gd name="connsiteY43" fmla="*/ 6233922 h 6858000"/>
              <a:gd name="connsiteX44" fmla="*/ 3630297 w 12558650"/>
              <a:gd name="connsiteY44" fmla="*/ 6225159 h 6858000"/>
              <a:gd name="connsiteX45" fmla="*/ 3708021 w 12558650"/>
              <a:gd name="connsiteY45" fmla="*/ 6216396 h 6858000"/>
              <a:gd name="connsiteX46" fmla="*/ 3785745 w 12558650"/>
              <a:gd name="connsiteY46" fmla="*/ 6207633 h 6858000"/>
              <a:gd name="connsiteX47" fmla="*/ 3863596 w 12558650"/>
              <a:gd name="connsiteY47" fmla="*/ 6198870 h 6858000"/>
              <a:gd name="connsiteX48" fmla="*/ 3941320 w 12558650"/>
              <a:gd name="connsiteY48" fmla="*/ 6190107 h 6858000"/>
              <a:gd name="connsiteX49" fmla="*/ 4019044 w 12558650"/>
              <a:gd name="connsiteY49" fmla="*/ 6181344 h 6858000"/>
              <a:gd name="connsiteX50" fmla="*/ 4096895 w 12558650"/>
              <a:gd name="connsiteY50" fmla="*/ 6172581 h 6858000"/>
              <a:gd name="connsiteX51" fmla="*/ 4174619 w 12558650"/>
              <a:gd name="connsiteY51" fmla="*/ 6163818 h 6858000"/>
              <a:gd name="connsiteX52" fmla="*/ 4252343 w 12558650"/>
              <a:gd name="connsiteY52" fmla="*/ 6155055 h 6858000"/>
              <a:gd name="connsiteX53" fmla="*/ 4330067 w 12558650"/>
              <a:gd name="connsiteY53" fmla="*/ 6146292 h 6858000"/>
              <a:gd name="connsiteX54" fmla="*/ 4407918 w 12558650"/>
              <a:gd name="connsiteY54" fmla="*/ 6137529 h 6858000"/>
              <a:gd name="connsiteX55" fmla="*/ 4485642 w 12558650"/>
              <a:gd name="connsiteY55" fmla="*/ 6128766 h 6858000"/>
              <a:gd name="connsiteX56" fmla="*/ 5103878 w 12558650"/>
              <a:gd name="connsiteY56" fmla="*/ 5701919 h 6858000"/>
              <a:gd name="connsiteX57" fmla="*/ 7088126 w 12558650"/>
              <a:gd name="connsiteY57" fmla="*/ 1271397 h 6858000"/>
              <a:gd name="connsiteX58" fmla="*/ 6723128 w 12558650"/>
              <a:gd name="connsiteY58" fmla="*/ 314452 h 6858000"/>
              <a:gd name="connsiteX59" fmla="*/ 6025009 w 12558650"/>
              <a:gd name="connsiteY59" fmla="*/ 0 h 6858000"/>
              <a:gd name="connsiteX60" fmla="*/ 8262875 w 12558650"/>
              <a:gd name="connsiteY60" fmla="*/ 0 h 6858000"/>
              <a:gd name="connsiteX61" fmla="*/ 12558650 w 12558650"/>
              <a:gd name="connsiteY61" fmla="*/ 0 h 6858000"/>
              <a:gd name="connsiteX62" fmla="*/ 12555350 w 12558650"/>
              <a:gd name="connsiteY62" fmla="*/ 4237555 h 6858000"/>
              <a:gd name="connsiteX63" fmla="*/ 12554463 w 12558650"/>
              <a:gd name="connsiteY63" fmla="*/ 4237555 h 6858000"/>
              <a:gd name="connsiteX64" fmla="*/ 12376067 w 12558650"/>
              <a:gd name="connsiteY64" fmla="*/ 4126731 h 6858000"/>
              <a:gd name="connsiteX65" fmla="*/ 10408261 w 12558650"/>
              <a:gd name="connsiteY65" fmla="*/ 3471334 h 6858000"/>
              <a:gd name="connsiteX66" fmla="*/ 9835010 w 12558650"/>
              <a:gd name="connsiteY66" fmla="*/ 3759525 h 6858000"/>
              <a:gd name="connsiteX67" fmla="*/ 9181444 w 12558650"/>
              <a:gd name="connsiteY67" fmla="*/ 5732716 h 6858000"/>
              <a:gd name="connsiteX68" fmla="*/ 9174465 w 12558650"/>
              <a:gd name="connsiteY68" fmla="*/ 5996224 h 6858000"/>
              <a:gd name="connsiteX69" fmla="*/ 9184869 w 12558650"/>
              <a:gd name="connsiteY69" fmla="*/ 6044192 h 6858000"/>
              <a:gd name="connsiteX70" fmla="*/ 9195274 w 12558650"/>
              <a:gd name="connsiteY70" fmla="*/ 6092288 h 6858000"/>
              <a:gd name="connsiteX71" fmla="*/ 9205678 w 12558650"/>
              <a:gd name="connsiteY71" fmla="*/ 6140256 h 6858000"/>
              <a:gd name="connsiteX72" fmla="*/ 9216082 w 12558650"/>
              <a:gd name="connsiteY72" fmla="*/ 6188351 h 6858000"/>
              <a:gd name="connsiteX73" fmla="*/ 9226487 w 12558650"/>
              <a:gd name="connsiteY73" fmla="*/ 6236320 h 6858000"/>
              <a:gd name="connsiteX74" fmla="*/ 9236891 w 12558650"/>
              <a:gd name="connsiteY74" fmla="*/ 6284415 h 6858000"/>
              <a:gd name="connsiteX75" fmla="*/ 9247295 w 12558650"/>
              <a:gd name="connsiteY75" fmla="*/ 6332511 h 6858000"/>
              <a:gd name="connsiteX76" fmla="*/ 9257699 w 12558650"/>
              <a:gd name="connsiteY76" fmla="*/ 6380479 h 6858000"/>
              <a:gd name="connsiteX77" fmla="*/ 9268104 w 12558650"/>
              <a:gd name="connsiteY77" fmla="*/ 6428575 h 6858000"/>
              <a:gd name="connsiteX78" fmla="*/ 9278508 w 12558650"/>
              <a:gd name="connsiteY78" fmla="*/ 6476543 h 6858000"/>
              <a:gd name="connsiteX79" fmla="*/ 9288912 w 12558650"/>
              <a:gd name="connsiteY79" fmla="*/ 6524639 h 6858000"/>
              <a:gd name="connsiteX80" fmla="*/ 9299317 w 12558650"/>
              <a:gd name="connsiteY80" fmla="*/ 6572607 h 6858000"/>
              <a:gd name="connsiteX81" fmla="*/ 9309721 w 12558650"/>
              <a:gd name="connsiteY81" fmla="*/ 6620703 h 6858000"/>
              <a:gd name="connsiteX82" fmla="*/ 9320125 w 12558650"/>
              <a:gd name="connsiteY82" fmla="*/ 6668798 h 6858000"/>
              <a:gd name="connsiteX83" fmla="*/ 9330529 w 12558650"/>
              <a:gd name="connsiteY83" fmla="*/ 6716766 h 6858000"/>
              <a:gd name="connsiteX84" fmla="*/ 9340934 w 12558650"/>
              <a:gd name="connsiteY84" fmla="*/ 6764862 h 6858000"/>
              <a:gd name="connsiteX85" fmla="*/ 9351338 w 12558650"/>
              <a:gd name="connsiteY85" fmla="*/ 6812830 h 6858000"/>
              <a:gd name="connsiteX86" fmla="*/ 9361109 w 12558650"/>
              <a:gd name="connsiteY86" fmla="*/ 6858000 h 6858000"/>
              <a:gd name="connsiteX87" fmla="*/ 8262875 w 12558650"/>
              <a:gd name="connsiteY87" fmla="*/ 6858000 h 6858000"/>
              <a:gd name="connsiteX88" fmla="*/ 5279077 w 12558650"/>
              <a:gd name="connsiteY88" fmla="*/ 6858000 h 6858000"/>
              <a:gd name="connsiteX89" fmla="*/ 366650 w 12558650"/>
              <a:gd name="connsiteY89" fmla="*/ 6858000 h 6858000"/>
              <a:gd name="connsiteX0" fmla="*/ 0 w 12192000"/>
              <a:gd name="connsiteY0" fmla="*/ 6858000 h 6858000"/>
              <a:gd name="connsiteX1" fmla="*/ 1 w 12192000"/>
              <a:gd name="connsiteY1" fmla="*/ 6592951 h 6858000"/>
              <a:gd name="connsiteX2" fmla="*/ 74296 w 12192000"/>
              <a:gd name="connsiteY2" fmla="*/ 6584443 h 6858000"/>
              <a:gd name="connsiteX3" fmla="*/ 152147 w 12192000"/>
              <a:gd name="connsiteY3" fmla="*/ 6575679 h 6858000"/>
              <a:gd name="connsiteX4" fmla="*/ 152020 w 12192000"/>
              <a:gd name="connsiteY4" fmla="*/ 6575679 h 6858000"/>
              <a:gd name="connsiteX5" fmla="*/ 229744 w 12192000"/>
              <a:gd name="connsiteY5" fmla="*/ 6566916 h 6858000"/>
              <a:gd name="connsiteX6" fmla="*/ 307595 w 12192000"/>
              <a:gd name="connsiteY6" fmla="*/ 6558153 h 6858000"/>
              <a:gd name="connsiteX7" fmla="*/ 385319 w 12192000"/>
              <a:gd name="connsiteY7" fmla="*/ 6549390 h 6858000"/>
              <a:gd name="connsiteX8" fmla="*/ 463170 w 12192000"/>
              <a:gd name="connsiteY8" fmla="*/ 6540627 h 6858000"/>
              <a:gd name="connsiteX9" fmla="*/ 541021 w 12192000"/>
              <a:gd name="connsiteY9" fmla="*/ 6531864 h 6858000"/>
              <a:gd name="connsiteX10" fmla="*/ 618745 w 12192000"/>
              <a:gd name="connsiteY10" fmla="*/ 6523101 h 6858000"/>
              <a:gd name="connsiteX11" fmla="*/ 696596 w 12192000"/>
              <a:gd name="connsiteY11" fmla="*/ 6514338 h 6858000"/>
              <a:gd name="connsiteX12" fmla="*/ 774320 w 12192000"/>
              <a:gd name="connsiteY12" fmla="*/ 6505575 h 6858000"/>
              <a:gd name="connsiteX13" fmla="*/ 852044 w 12192000"/>
              <a:gd name="connsiteY13" fmla="*/ 6496812 h 6858000"/>
              <a:gd name="connsiteX14" fmla="*/ 929895 w 12192000"/>
              <a:gd name="connsiteY14" fmla="*/ 6488049 h 6858000"/>
              <a:gd name="connsiteX15" fmla="*/ 1007619 w 12192000"/>
              <a:gd name="connsiteY15" fmla="*/ 6479286 h 6858000"/>
              <a:gd name="connsiteX16" fmla="*/ 1085470 w 12192000"/>
              <a:gd name="connsiteY16" fmla="*/ 6470523 h 6858000"/>
              <a:gd name="connsiteX17" fmla="*/ 1163194 w 12192000"/>
              <a:gd name="connsiteY17" fmla="*/ 6461760 h 6858000"/>
              <a:gd name="connsiteX18" fmla="*/ 1241045 w 12192000"/>
              <a:gd name="connsiteY18" fmla="*/ 6452997 h 6858000"/>
              <a:gd name="connsiteX19" fmla="*/ 1318769 w 12192000"/>
              <a:gd name="connsiteY19" fmla="*/ 6444234 h 6858000"/>
              <a:gd name="connsiteX20" fmla="*/ 1396620 w 12192000"/>
              <a:gd name="connsiteY20" fmla="*/ 6435471 h 6858000"/>
              <a:gd name="connsiteX21" fmla="*/ 1474471 w 12192000"/>
              <a:gd name="connsiteY21" fmla="*/ 6426708 h 6858000"/>
              <a:gd name="connsiteX22" fmla="*/ 1552195 w 12192000"/>
              <a:gd name="connsiteY22" fmla="*/ 6417945 h 6858000"/>
              <a:gd name="connsiteX23" fmla="*/ 1630046 w 12192000"/>
              <a:gd name="connsiteY23" fmla="*/ 6409182 h 6858000"/>
              <a:gd name="connsiteX24" fmla="*/ 1707770 w 12192000"/>
              <a:gd name="connsiteY24" fmla="*/ 6400419 h 6858000"/>
              <a:gd name="connsiteX25" fmla="*/ 1785494 w 12192000"/>
              <a:gd name="connsiteY25" fmla="*/ 6391656 h 6858000"/>
              <a:gd name="connsiteX26" fmla="*/ 1863345 w 12192000"/>
              <a:gd name="connsiteY26" fmla="*/ 6382893 h 6858000"/>
              <a:gd name="connsiteX27" fmla="*/ 1941069 w 12192000"/>
              <a:gd name="connsiteY27" fmla="*/ 6374130 h 6858000"/>
              <a:gd name="connsiteX28" fmla="*/ 2018920 w 12192000"/>
              <a:gd name="connsiteY28" fmla="*/ 6365367 h 6858000"/>
              <a:gd name="connsiteX29" fmla="*/ 2096644 w 12192000"/>
              <a:gd name="connsiteY29" fmla="*/ 6356604 h 6858000"/>
              <a:gd name="connsiteX30" fmla="*/ 2174495 w 12192000"/>
              <a:gd name="connsiteY30" fmla="*/ 6347841 h 6858000"/>
              <a:gd name="connsiteX31" fmla="*/ 2252219 w 12192000"/>
              <a:gd name="connsiteY31" fmla="*/ 6339078 h 6858000"/>
              <a:gd name="connsiteX32" fmla="*/ 2330070 w 12192000"/>
              <a:gd name="connsiteY32" fmla="*/ 6330315 h 6858000"/>
              <a:gd name="connsiteX33" fmla="*/ 2407794 w 12192000"/>
              <a:gd name="connsiteY33" fmla="*/ 6321552 h 6858000"/>
              <a:gd name="connsiteX34" fmla="*/ 2485645 w 12192000"/>
              <a:gd name="connsiteY34" fmla="*/ 6312789 h 6858000"/>
              <a:gd name="connsiteX35" fmla="*/ 2563496 w 12192000"/>
              <a:gd name="connsiteY35" fmla="*/ 6304026 h 6858000"/>
              <a:gd name="connsiteX36" fmla="*/ 2641220 w 12192000"/>
              <a:gd name="connsiteY36" fmla="*/ 6295263 h 6858000"/>
              <a:gd name="connsiteX37" fmla="*/ 2719071 w 12192000"/>
              <a:gd name="connsiteY37" fmla="*/ 6286500 h 6858000"/>
              <a:gd name="connsiteX38" fmla="*/ 2796922 w 12192000"/>
              <a:gd name="connsiteY38" fmla="*/ 6277737 h 6858000"/>
              <a:gd name="connsiteX39" fmla="*/ 2874646 w 12192000"/>
              <a:gd name="connsiteY39" fmla="*/ 6268974 h 6858000"/>
              <a:gd name="connsiteX40" fmla="*/ 2952370 w 12192000"/>
              <a:gd name="connsiteY40" fmla="*/ 6260211 h 6858000"/>
              <a:gd name="connsiteX41" fmla="*/ 3030221 w 12192000"/>
              <a:gd name="connsiteY41" fmla="*/ 6251448 h 6858000"/>
              <a:gd name="connsiteX42" fmla="*/ 3108072 w 12192000"/>
              <a:gd name="connsiteY42" fmla="*/ 6242685 h 6858000"/>
              <a:gd name="connsiteX43" fmla="*/ 3185796 w 12192000"/>
              <a:gd name="connsiteY43" fmla="*/ 6233922 h 6858000"/>
              <a:gd name="connsiteX44" fmla="*/ 3263647 w 12192000"/>
              <a:gd name="connsiteY44" fmla="*/ 6225159 h 6858000"/>
              <a:gd name="connsiteX45" fmla="*/ 3341371 w 12192000"/>
              <a:gd name="connsiteY45" fmla="*/ 6216396 h 6858000"/>
              <a:gd name="connsiteX46" fmla="*/ 3419095 w 12192000"/>
              <a:gd name="connsiteY46" fmla="*/ 6207633 h 6858000"/>
              <a:gd name="connsiteX47" fmla="*/ 3496946 w 12192000"/>
              <a:gd name="connsiteY47" fmla="*/ 6198870 h 6858000"/>
              <a:gd name="connsiteX48" fmla="*/ 3574670 w 12192000"/>
              <a:gd name="connsiteY48" fmla="*/ 6190107 h 6858000"/>
              <a:gd name="connsiteX49" fmla="*/ 3652394 w 12192000"/>
              <a:gd name="connsiteY49" fmla="*/ 6181344 h 6858000"/>
              <a:gd name="connsiteX50" fmla="*/ 3730245 w 12192000"/>
              <a:gd name="connsiteY50" fmla="*/ 6172581 h 6858000"/>
              <a:gd name="connsiteX51" fmla="*/ 3807969 w 12192000"/>
              <a:gd name="connsiteY51" fmla="*/ 6163818 h 6858000"/>
              <a:gd name="connsiteX52" fmla="*/ 3885693 w 12192000"/>
              <a:gd name="connsiteY52" fmla="*/ 6155055 h 6858000"/>
              <a:gd name="connsiteX53" fmla="*/ 3963417 w 12192000"/>
              <a:gd name="connsiteY53" fmla="*/ 6146292 h 6858000"/>
              <a:gd name="connsiteX54" fmla="*/ 4041268 w 12192000"/>
              <a:gd name="connsiteY54" fmla="*/ 6137529 h 6858000"/>
              <a:gd name="connsiteX55" fmla="*/ 4118992 w 12192000"/>
              <a:gd name="connsiteY55" fmla="*/ 6128766 h 6858000"/>
              <a:gd name="connsiteX56" fmla="*/ 4737228 w 12192000"/>
              <a:gd name="connsiteY56" fmla="*/ 5701919 h 6858000"/>
              <a:gd name="connsiteX57" fmla="*/ 6721476 w 12192000"/>
              <a:gd name="connsiteY57" fmla="*/ 1271397 h 6858000"/>
              <a:gd name="connsiteX58" fmla="*/ 6356478 w 12192000"/>
              <a:gd name="connsiteY58" fmla="*/ 314452 h 6858000"/>
              <a:gd name="connsiteX59" fmla="*/ 5658359 w 12192000"/>
              <a:gd name="connsiteY59" fmla="*/ 0 h 6858000"/>
              <a:gd name="connsiteX60" fmla="*/ 7896225 w 12192000"/>
              <a:gd name="connsiteY60" fmla="*/ 0 h 6858000"/>
              <a:gd name="connsiteX61" fmla="*/ 12192000 w 12192000"/>
              <a:gd name="connsiteY61" fmla="*/ 0 h 6858000"/>
              <a:gd name="connsiteX62" fmla="*/ 12188700 w 12192000"/>
              <a:gd name="connsiteY62" fmla="*/ 4237555 h 6858000"/>
              <a:gd name="connsiteX63" fmla="*/ 12187813 w 12192000"/>
              <a:gd name="connsiteY63" fmla="*/ 4237555 h 6858000"/>
              <a:gd name="connsiteX64" fmla="*/ 12009417 w 12192000"/>
              <a:gd name="connsiteY64" fmla="*/ 4126731 h 6858000"/>
              <a:gd name="connsiteX65" fmla="*/ 10041611 w 12192000"/>
              <a:gd name="connsiteY65" fmla="*/ 3471334 h 6858000"/>
              <a:gd name="connsiteX66" fmla="*/ 9468360 w 12192000"/>
              <a:gd name="connsiteY66" fmla="*/ 3759525 h 6858000"/>
              <a:gd name="connsiteX67" fmla="*/ 8814794 w 12192000"/>
              <a:gd name="connsiteY67" fmla="*/ 5732716 h 6858000"/>
              <a:gd name="connsiteX68" fmla="*/ 8807815 w 12192000"/>
              <a:gd name="connsiteY68" fmla="*/ 5996224 h 6858000"/>
              <a:gd name="connsiteX69" fmla="*/ 8818219 w 12192000"/>
              <a:gd name="connsiteY69" fmla="*/ 6044192 h 6858000"/>
              <a:gd name="connsiteX70" fmla="*/ 8828624 w 12192000"/>
              <a:gd name="connsiteY70" fmla="*/ 6092288 h 6858000"/>
              <a:gd name="connsiteX71" fmla="*/ 8839028 w 12192000"/>
              <a:gd name="connsiteY71" fmla="*/ 6140256 h 6858000"/>
              <a:gd name="connsiteX72" fmla="*/ 8849432 w 12192000"/>
              <a:gd name="connsiteY72" fmla="*/ 6188351 h 6858000"/>
              <a:gd name="connsiteX73" fmla="*/ 8859837 w 12192000"/>
              <a:gd name="connsiteY73" fmla="*/ 6236320 h 6858000"/>
              <a:gd name="connsiteX74" fmla="*/ 8870241 w 12192000"/>
              <a:gd name="connsiteY74" fmla="*/ 6284415 h 6858000"/>
              <a:gd name="connsiteX75" fmla="*/ 8880645 w 12192000"/>
              <a:gd name="connsiteY75" fmla="*/ 6332511 h 6858000"/>
              <a:gd name="connsiteX76" fmla="*/ 8891049 w 12192000"/>
              <a:gd name="connsiteY76" fmla="*/ 6380479 h 6858000"/>
              <a:gd name="connsiteX77" fmla="*/ 8901454 w 12192000"/>
              <a:gd name="connsiteY77" fmla="*/ 6428575 h 6858000"/>
              <a:gd name="connsiteX78" fmla="*/ 8911858 w 12192000"/>
              <a:gd name="connsiteY78" fmla="*/ 6476543 h 6858000"/>
              <a:gd name="connsiteX79" fmla="*/ 8922262 w 12192000"/>
              <a:gd name="connsiteY79" fmla="*/ 6524639 h 6858000"/>
              <a:gd name="connsiteX80" fmla="*/ 8932667 w 12192000"/>
              <a:gd name="connsiteY80" fmla="*/ 6572607 h 6858000"/>
              <a:gd name="connsiteX81" fmla="*/ 8943071 w 12192000"/>
              <a:gd name="connsiteY81" fmla="*/ 6620703 h 6858000"/>
              <a:gd name="connsiteX82" fmla="*/ 8953475 w 12192000"/>
              <a:gd name="connsiteY82" fmla="*/ 6668798 h 6858000"/>
              <a:gd name="connsiteX83" fmla="*/ 8963879 w 12192000"/>
              <a:gd name="connsiteY83" fmla="*/ 6716766 h 6858000"/>
              <a:gd name="connsiteX84" fmla="*/ 8974284 w 12192000"/>
              <a:gd name="connsiteY84" fmla="*/ 6764862 h 6858000"/>
              <a:gd name="connsiteX85" fmla="*/ 8984688 w 12192000"/>
              <a:gd name="connsiteY85" fmla="*/ 6812830 h 6858000"/>
              <a:gd name="connsiteX86" fmla="*/ 8994459 w 12192000"/>
              <a:gd name="connsiteY86" fmla="*/ 6858000 h 6858000"/>
              <a:gd name="connsiteX87" fmla="*/ 7896225 w 12192000"/>
              <a:gd name="connsiteY87" fmla="*/ 6858000 h 6858000"/>
              <a:gd name="connsiteX88" fmla="*/ 4912427 w 12192000"/>
              <a:gd name="connsiteY88" fmla="*/ 6858000 h 6858000"/>
              <a:gd name="connsiteX89" fmla="*/ 0 w 12192000"/>
              <a:gd name="connsiteY8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192000" h="6858000">
                <a:moveTo>
                  <a:pt x="0" y="6858000"/>
                </a:moveTo>
                <a:cubicBezTo>
                  <a:pt x="0" y="6769650"/>
                  <a:pt x="1" y="6681301"/>
                  <a:pt x="1" y="6592951"/>
                </a:cubicBezTo>
                <a:cubicBezTo>
                  <a:pt x="24893" y="6591300"/>
                  <a:pt x="49785" y="6588633"/>
                  <a:pt x="74296" y="6584443"/>
                </a:cubicBezTo>
                <a:cubicBezTo>
                  <a:pt x="100458" y="6582919"/>
                  <a:pt x="126366" y="6579997"/>
                  <a:pt x="152147" y="6575679"/>
                </a:cubicBezTo>
                <a:lnTo>
                  <a:pt x="152020" y="6575679"/>
                </a:lnTo>
                <a:cubicBezTo>
                  <a:pt x="178182" y="6574156"/>
                  <a:pt x="204090" y="6571234"/>
                  <a:pt x="229744" y="6566916"/>
                </a:cubicBezTo>
                <a:cubicBezTo>
                  <a:pt x="255906" y="6565393"/>
                  <a:pt x="281814" y="6562471"/>
                  <a:pt x="307595" y="6558153"/>
                </a:cubicBezTo>
                <a:cubicBezTo>
                  <a:pt x="333757" y="6556629"/>
                  <a:pt x="359665" y="6553708"/>
                  <a:pt x="385319" y="6549390"/>
                </a:cubicBezTo>
                <a:cubicBezTo>
                  <a:pt x="411481" y="6547866"/>
                  <a:pt x="437389" y="6544945"/>
                  <a:pt x="463170" y="6540627"/>
                </a:cubicBezTo>
                <a:cubicBezTo>
                  <a:pt x="489332" y="6539103"/>
                  <a:pt x="515240" y="6536182"/>
                  <a:pt x="541021" y="6531864"/>
                </a:cubicBezTo>
                <a:cubicBezTo>
                  <a:pt x="567183" y="6530340"/>
                  <a:pt x="593091" y="6527419"/>
                  <a:pt x="618745" y="6523101"/>
                </a:cubicBezTo>
                <a:cubicBezTo>
                  <a:pt x="644907" y="6521577"/>
                  <a:pt x="670815" y="6518657"/>
                  <a:pt x="696596" y="6514338"/>
                </a:cubicBezTo>
                <a:cubicBezTo>
                  <a:pt x="722758" y="6512814"/>
                  <a:pt x="748666" y="6509894"/>
                  <a:pt x="774320" y="6505575"/>
                </a:cubicBezTo>
                <a:cubicBezTo>
                  <a:pt x="800482" y="6504051"/>
                  <a:pt x="826390" y="6501130"/>
                  <a:pt x="852044" y="6496812"/>
                </a:cubicBezTo>
                <a:cubicBezTo>
                  <a:pt x="878206" y="6495288"/>
                  <a:pt x="904241" y="6492367"/>
                  <a:pt x="929895" y="6488049"/>
                </a:cubicBezTo>
                <a:cubicBezTo>
                  <a:pt x="956057" y="6486525"/>
                  <a:pt x="981965" y="6483604"/>
                  <a:pt x="1007619" y="6479286"/>
                </a:cubicBezTo>
                <a:cubicBezTo>
                  <a:pt x="1033781" y="6477762"/>
                  <a:pt x="1059816" y="6474841"/>
                  <a:pt x="1085470" y="6470523"/>
                </a:cubicBezTo>
                <a:cubicBezTo>
                  <a:pt x="1111632" y="6468999"/>
                  <a:pt x="1137540" y="6466078"/>
                  <a:pt x="1163194" y="6461760"/>
                </a:cubicBezTo>
                <a:cubicBezTo>
                  <a:pt x="1189356" y="6460236"/>
                  <a:pt x="1215264" y="6457315"/>
                  <a:pt x="1241045" y="6452997"/>
                </a:cubicBezTo>
                <a:cubicBezTo>
                  <a:pt x="1267207" y="6451473"/>
                  <a:pt x="1293115" y="6448552"/>
                  <a:pt x="1318769" y="6444234"/>
                </a:cubicBezTo>
                <a:cubicBezTo>
                  <a:pt x="1344931" y="6442710"/>
                  <a:pt x="1370839" y="6439789"/>
                  <a:pt x="1396620" y="6435471"/>
                </a:cubicBezTo>
                <a:cubicBezTo>
                  <a:pt x="1422782" y="6433947"/>
                  <a:pt x="1448690" y="6431026"/>
                  <a:pt x="1474471" y="6426708"/>
                </a:cubicBezTo>
                <a:cubicBezTo>
                  <a:pt x="1500633" y="6425184"/>
                  <a:pt x="1526541" y="6422263"/>
                  <a:pt x="1552195" y="6417945"/>
                </a:cubicBezTo>
                <a:cubicBezTo>
                  <a:pt x="1578357" y="6416421"/>
                  <a:pt x="1604265" y="6413500"/>
                  <a:pt x="1630046" y="6409182"/>
                </a:cubicBezTo>
                <a:cubicBezTo>
                  <a:pt x="1656208" y="6407658"/>
                  <a:pt x="1682116" y="6404737"/>
                  <a:pt x="1707770" y="6400419"/>
                </a:cubicBezTo>
                <a:cubicBezTo>
                  <a:pt x="1733932" y="6398895"/>
                  <a:pt x="1759840" y="6395974"/>
                  <a:pt x="1785494" y="6391656"/>
                </a:cubicBezTo>
                <a:cubicBezTo>
                  <a:pt x="1811656" y="6390132"/>
                  <a:pt x="1837691" y="6387211"/>
                  <a:pt x="1863345" y="6382893"/>
                </a:cubicBezTo>
                <a:cubicBezTo>
                  <a:pt x="1889507" y="6381369"/>
                  <a:pt x="1915415" y="6378448"/>
                  <a:pt x="1941069" y="6374130"/>
                </a:cubicBezTo>
                <a:cubicBezTo>
                  <a:pt x="1967231" y="6372606"/>
                  <a:pt x="1993266" y="6369685"/>
                  <a:pt x="2018920" y="6365367"/>
                </a:cubicBezTo>
                <a:cubicBezTo>
                  <a:pt x="2045082" y="6363843"/>
                  <a:pt x="2070990" y="6360922"/>
                  <a:pt x="2096644" y="6356604"/>
                </a:cubicBezTo>
                <a:cubicBezTo>
                  <a:pt x="2122806" y="6355080"/>
                  <a:pt x="2148714" y="6352159"/>
                  <a:pt x="2174495" y="6347841"/>
                </a:cubicBezTo>
                <a:cubicBezTo>
                  <a:pt x="2200657" y="6346317"/>
                  <a:pt x="2226565" y="6343396"/>
                  <a:pt x="2252219" y="6339078"/>
                </a:cubicBezTo>
                <a:cubicBezTo>
                  <a:pt x="2278381" y="6337554"/>
                  <a:pt x="2304416" y="6334633"/>
                  <a:pt x="2330070" y="6330315"/>
                </a:cubicBezTo>
                <a:cubicBezTo>
                  <a:pt x="2356232" y="6328791"/>
                  <a:pt x="2382140" y="6325870"/>
                  <a:pt x="2407794" y="6321552"/>
                </a:cubicBezTo>
                <a:cubicBezTo>
                  <a:pt x="2433956" y="6320028"/>
                  <a:pt x="2459864" y="6317107"/>
                  <a:pt x="2485645" y="6312789"/>
                </a:cubicBezTo>
                <a:cubicBezTo>
                  <a:pt x="2511807" y="6311265"/>
                  <a:pt x="2537715" y="6308344"/>
                  <a:pt x="2563496" y="6304026"/>
                </a:cubicBezTo>
                <a:cubicBezTo>
                  <a:pt x="2589658" y="6302502"/>
                  <a:pt x="2615566" y="6299581"/>
                  <a:pt x="2641220" y="6295263"/>
                </a:cubicBezTo>
                <a:cubicBezTo>
                  <a:pt x="2667382" y="6293739"/>
                  <a:pt x="2693290" y="6290818"/>
                  <a:pt x="2719071" y="6286500"/>
                </a:cubicBezTo>
                <a:cubicBezTo>
                  <a:pt x="2745233" y="6284976"/>
                  <a:pt x="2771141" y="6282055"/>
                  <a:pt x="2796922" y="6277737"/>
                </a:cubicBezTo>
                <a:cubicBezTo>
                  <a:pt x="2823084" y="6276213"/>
                  <a:pt x="2848992" y="6273292"/>
                  <a:pt x="2874646" y="6268974"/>
                </a:cubicBezTo>
                <a:cubicBezTo>
                  <a:pt x="2900808" y="6267450"/>
                  <a:pt x="2926716" y="6264529"/>
                  <a:pt x="2952370" y="6260211"/>
                </a:cubicBezTo>
                <a:cubicBezTo>
                  <a:pt x="2978532" y="6258687"/>
                  <a:pt x="3004440" y="6255766"/>
                  <a:pt x="3030221" y="6251448"/>
                </a:cubicBezTo>
                <a:cubicBezTo>
                  <a:pt x="3056383" y="6249924"/>
                  <a:pt x="3082418" y="6247003"/>
                  <a:pt x="3108072" y="6242685"/>
                </a:cubicBezTo>
                <a:cubicBezTo>
                  <a:pt x="3134234" y="6241161"/>
                  <a:pt x="3160142" y="6238240"/>
                  <a:pt x="3185796" y="6233922"/>
                </a:cubicBezTo>
                <a:cubicBezTo>
                  <a:pt x="3211958" y="6232398"/>
                  <a:pt x="3237993" y="6229477"/>
                  <a:pt x="3263647" y="6225159"/>
                </a:cubicBezTo>
                <a:cubicBezTo>
                  <a:pt x="3289809" y="6223635"/>
                  <a:pt x="3315717" y="6220714"/>
                  <a:pt x="3341371" y="6216396"/>
                </a:cubicBezTo>
                <a:cubicBezTo>
                  <a:pt x="3367533" y="6214872"/>
                  <a:pt x="3393441" y="6211951"/>
                  <a:pt x="3419095" y="6207633"/>
                </a:cubicBezTo>
                <a:cubicBezTo>
                  <a:pt x="3445257" y="6206109"/>
                  <a:pt x="3471165" y="6203188"/>
                  <a:pt x="3496946" y="6198870"/>
                </a:cubicBezTo>
                <a:cubicBezTo>
                  <a:pt x="3523108" y="6197346"/>
                  <a:pt x="3549016" y="6194425"/>
                  <a:pt x="3574670" y="6190107"/>
                </a:cubicBezTo>
                <a:cubicBezTo>
                  <a:pt x="3600832" y="6188583"/>
                  <a:pt x="3626740" y="6185662"/>
                  <a:pt x="3652394" y="6181344"/>
                </a:cubicBezTo>
                <a:cubicBezTo>
                  <a:pt x="3678556" y="6179820"/>
                  <a:pt x="3704591" y="6176899"/>
                  <a:pt x="3730245" y="6172581"/>
                </a:cubicBezTo>
                <a:cubicBezTo>
                  <a:pt x="3756407" y="6171057"/>
                  <a:pt x="3782315" y="6168136"/>
                  <a:pt x="3807969" y="6163818"/>
                </a:cubicBezTo>
                <a:cubicBezTo>
                  <a:pt x="3834131" y="6162294"/>
                  <a:pt x="3860039" y="6159373"/>
                  <a:pt x="3885693" y="6155055"/>
                </a:cubicBezTo>
                <a:cubicBezTo>
                  <a:pt x="3911855" y="6153531"/>
                  <a:pt x="3937763" y="6150610"/>
                  <a:pt x="3963417" y="6146292"/>
                </a:cubicBezTo>
                <a:cubicBezTo>
                  <a:pt x="3989579" y="6144768"/>
                  <a:pt x="4015487" y="6141847"/>
                  <a:pt x="4041268" y="6137529"/>
                </a:cubicBezTo>
                <a:cubicBezTo>
                  <a:pt x="4067430" y="6136005"/>
                  <a:pt x="4093338" y="6133084"/>
                  <a:pt x="4118992" y="6128766"/>
                </a:cubicBezTo>
                <a:cubicBezTo>
                  <a:pt x="4379723" y="6113145"/>
                  <a:pt x="4623055" y="5956808"/>
                  <a:pt x="4737228" y="5701919"/>
                </a:cubicBezTo>
                <a:lnTo>
                  <a:pt x="6721476" y="1271397"/>
                </a:lnTo>
                <a:cubicBezTo>
                  <a:pt x="6884925" y="906399"/>
                  <a:pt x="6721476" y="477901"/>
                  <a:pt x="6356478" y="314452"/>
                </a:cubicBezTo>
                <a:lnTo>
                  <a:pt x="5658359" y="0"/>
                </a:lnTo>
                <a:lnTo>
                  <a:pt x="7896225" y="0"/>
                </a:lnTo>
                <a:lnTo>
                  <a:pt x="12192000" y="0"/>
                </a:lnTo>
                <a:lnTo>
                  <a:pt x="12188700" y="4237555"/>
                </a:lnTo>
                <a:lnTo>
                  <a:pt x="12187813" y="4237555"/>
                </a:lnTo>
                <a:cubicBezTo>
                  <a:pt x="12139344" y="4188568"/>
                  <a:pt x="12079075" y="4150016"/>
                  <a:pt x="12009417" y="4126731"/>
                </a:cubicBezTo>
                <a:lnTo>
                  <a:pt x="10041611" y="3471334"/>
                </a:lnTo>
                <a:cubicBezTo>
                  <a:pt x="9803962" y="3392192"/>
                  <a:pt x="9547281" y="3521211"/>
                  <a:pt x="9468360" y="3759525"/>
                </a:cubicBezTo>
                <a:lnTo>
                  <a:pt x="8814794" y="5732716"/>
                </a:lnTo>
                <a:cubicBezTo>
                  <a:pt x="8785484" y="5821273"/>
                  <a:pt x="8784850" y="5912502"/>
                  <a:pt x="8807815" y="5996224"/>
                </a:cubicBezTo>
                <a:cubicBezTo>
                  <a:pt x="8810480" y="6012510"/>
                  <a:pt x="8813905" y="6028542"/>
                  <a:pt x="8818219" y="6044192"/>
                </a:cubicBezTo>
                <a:cubicBezTo>
                  <a:pt x="8820884" y="6060478"/>
                  <a:pt x="8824310" y="6076510"/>
                  <a:pt x="8828624" y="6092288"/>
                </a:cubicBezTo>
                <a:cubicBezTo>
                  <a:pt x="8831288" y="6108574"/>
                  <a:pt x="8834587" y="6124606"/>
                  <a:pt x="8839028" y="6140256"/>
                </a:cubicBezTo>
                <a:cubicBezTo>
                  <a:pt x="8841693" y="6156542"/>
                  <a:pt x="8845118" y="6172574"/>
                  <a:pt x="8849432" y="6188351"/>
                </a:cubicBezTo>
                <a:cubicBezTo>
                  <a:pt x="8852097" y="6204638"/>
                  <a:pt x="8855523" y="6220670"/>
                  <a:pt x="8859837" y="6236320"/>
                </a:cubicBezTo>
                <a:cubicBezTo>
                  <a:pt x="8862501" y="6252606"/>
                  <a:pt x="8865927" y="6268638"/>
                  <a:pt x="8870241" y="6284415"/>
                </a:cubicBezTo>
                <a:cubicBezTo>
                  <a:pt x="8872905" y="6300702"/>
                  <a:pt x="8876331" y="6316734"/>
                  <a:pt x="8880645" y="6332511"/>
                </a:cubicBezTo>
                <a:cubicBezTo>
                  <a:pt x="8883310" y="6348797"/>
                  <a:pt x="8886735" y="6364829"/>
                  <a:pt x="8891049" y="6380479"/>
                </a:cubicBezTo>
                <a:cubicBezTo>
                  <a:pt x="8893714" y="6396766"/>
                  <a:pt x="8897013" y="6412797"/>
                  <a:pt x="8901454" y="6428575"/>
                </a:cubicBezTo>
                <a:cubicBezTo>
                  <a:pt x="8904118" y="6444861"/>
                  <a:pt x="8907417" y="6460893"/>
                  <a:pt x="8911858" y="6476543"/>
                </a:cubicBezTo>
                <a:cubicBezTo>
                  <a:pt x="8914523" y="6492829"/>
                  <a:pt x="8917948" y="6508861"/>
                  <a:pt x="8922262" y="6524639"/>
                </a:cubicBezTo>
                <a:cubicBezTo>
                  <a:pt x="8924927" y="6540925"/>
                  <a:pt x="8928353" y="6556957"/>
                  <a:pt x="8932667" y="6572607"/>
                </a:cubicBezTo>
                <a:cubicBezTo>
                  <a:pt x="8935331" y="6588893"/>
                  <a:pt x="8938757" y="6604925"/>
                  <a:pt x="8943071" y="6620703"/>
                </a:cubicBezTo>
                <a:cubicBezTo>
                  <a:pt x="8945735" y="6636989"/>
                  <a:pt x="8949161" y="6653021"/>
                  <a:pt x="8953475" y="6668798"/>
                </a:cubicBezTo>
                <a:cubicBezTo>
                  <a:pt x="8956140" y="6685084"/>
                  <a:pt x="8959565" y="6701116"/>
                  <a:pt x="8963879" y="6716766"/>
                </a:cubicBezTo>
                <a:cubicBezTo>
                  <a:pt x="8966544" y="6733053"/>
                  <a:pt x="8969970" y="6749085"/>
                  <a:pt x="8974284" y="6764862"/>
                </a:cubicBezTo>
                <a:cubicBezTo>
                  <a:pt x="8976948" y="6781148"/>
                  <a:pt x="8980374" y="6797180"/>
                  <a:pt x="8984688" y="6812830"/>
                </a:cubicBezTo>
                <a:lnTo>
                  <a:pt x="8994459" y="6858000"/>
                </a:lnTo>
                <a:lnTo>
                  <a:pt x="7896225" y="6858000"/>
                </a:lnTo>
                <a:lnTo>
                  <a:pt x="4912427" y="6858000"/>
                </a:lnTo>
                <a:lnTo>
                  <a:pt x="0" y="6858000"/>
                </a:lnTo>
                <a:close/>
              </a:path>
            </a:pathLst>
          </a:custGeom>
          <a:solidFill>
            <a:schemeClr val="bg1">
              <a:lumMod val="95000"/>
            </a:schemeClr>
          </a:solidFill>
        </p:spPr>
        <p:txBody>
          <a:bodyPr wrap="square">
            <a:noAutofit/>
          </a:bodyPr>
          <a:lstStyle/>
          <a:p>
            <a:r>
              <a:rPr lang="de-DE"/>
              <a:t> </a:t>
            </a:r>
          </a:p>
        </p:txBody>
      </p:sp>
      <p:sp>
        <p:nvSpPr>
          <p:cNvPr id="2" name="Titel 1">
            <a:extLst>
              <a:ext uri="{FF2B5EF4-FFF2-40B4-BE49-F238E27FC236}">
                <a16:creationId xmlns:a16="http://schemas.microsoft.com/office/drawing/2014/main" id="{06656E39-C58B-4E6F-2C05-A9D8226600F6}"/>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5DE4E492-C91D-F001-B11A-8644411B5F00}"/>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F9174A72-4534-A16F-7735-CC7A0ADB69B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5">
              <a:extLst>
                <a:ext uri="{FF2B5EF4-FFF2-40B4-BE49-F238E27FC236}">
                  <a16:creationId xmlns:a16="http://schemas.microsoft.com/office/drawing/2014/main" id="{08921AE5-CC27-DA51-0B6E-FA8B74C7F236}"/>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6">
              <a:extLst>
                <a:ext uri="{FF2B5EF4-FFF2-40B4-BE49-F238E27FC236}">
                  <a16:creationId xmlns:a16="http://schemas.microsoft.com/office/drawing/2014/main" id="{3CCB856B-BDCD-1139-2124-76330ADEB56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7">
              <a:extLst>
                <a:ext uri="{FF2B5EF4-FFF2-40B4-BE49-F238E27FC236}">
                  <a16:creationId xmlns:a16="http://schemas.microsoft.com/office/drawing/2014/main" id="{E8D99CAA-D42C-AB96-ADBF-68AE71C987D3}"/>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8">
              <a:extLst>
                <a:ext uri="{FF2B5EF4-FFF2-40B4-BE49-F238E27FC236}">
                  <a16:creationId xmlns:a16="http://schemas.microsoft.com/office/drawing/2014/main" id="{7EEEBB10-9A6D-BE08-E54A-6E87DDD330F5}"/>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9">
              <a:extLst>
                <a:ext uri="{FF2B5EF4-FFF2-40B4-BE49-F238E27FC236}">
                  <a16:creationId xmlns:a16="http://schemas.microsoft.com/office/drawing/2014/main" id="{F1E2684D-BE81-7211-6AE4-7C1E2E19D0D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0">
              <a:extLst>
                <a:ext uri="{FF2B5EF4-FFF2-40B4-BE49-F238E27FC236}">
                  <a16:creationId xmlns:a16="http://schemas.microsoft.com/office/drawing/2014/main" id="{5FD69D8D-70EB-CD0D-E7BD-726D8CA23691}"/>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1">
              <a:extLst>
                <a:ext uri="{FF2B5EF4-FFF2-40B4-BE49-F238E27FC236}">
                  <a16:creationId xmlns:a16="http://schemas.microsoft.com/office/drawing/2014/main" id="{F9FBE631-8BF4-A887-5271-83D9B6AA43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12">
              <a:extLst>
                <a:ext uri="{FF2B5EF4-FFF2-40B4-BE49-F238E27FC236}">
                  <a16:creationId xmlns:a16="http://schemas.microsoft.com/office/drawing/2014/main" id="{7ADBF984-7B8F-E991-F6B5-E852948E6E02}"/>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3">
              <a:extLst>
                <a:ext uri="{FF2B5EF4-FFF2-40B4-BE49-F238E27FC236}">
                  <a16:creationId xmlns:a16="http://schemas.microsoft.com/office/drawing/2014/main" id="{9785FFBF-B398-C2E4-3392-8E90EF484283}"/>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4">
              <a:extLst>
                <a:ext uri="{FF2B5EF4-FFF2-40B4-BE49-F238E27FC236}">
                  <a16:creationId xmlns:a16="http://schemas.microsoft.com/office/drawing/2014/main" id="{6FE17691-FEEA-E7AC-CC09-A3BED81A7F9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5">
              <a:extLst>
                <a:ext uri="{FF2B5EF4-FFF2-40B4-BE49-F238E27FC236}">
                  <a16:creationId xmlns:a16="http://schemas.microsoft.com/office/drawing/2014/main" id="{DF101658-8583-C825-8091-DF2923F745FC}"/>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6">
              <a:extLst>
                <a:ext uri="{FF2B5EF4-FFF2-40B4-BE49-F238E27FC236}">
                  <a16:creationId xmlns:a16="http://schemas.microsoft.com/office/drawing/2014/main" id="{0E525ABB-5E96-4763-2A7A-854BA2117144}"/>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7">
              <a:extLst>
                <a:ext uri="{FF2B5EF4-FFF2-40B4-BE49-F238E27FC236}">
                  <a16:creationId xmlns:a16="http://schemas.microsoft.com/office/drawing/2014/main" id="{723FBDB4-7455-BFBD-3585-A378128D7DC2}"/>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Oval 18">
              <a:extLst>
                <a:ext uri="{FF2B5EF4-FFF2-40B4-BE49-F238E27FC236}">
                  <a16:creationId xmlns:a16="http://schemas.microsoft.com/office/drawing/2014/main" id="{7AF7EC71-DD8E-8AB4-EFA6-5878FF8BF0D1}"/>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6" name="Group 21">
            <a:extLst>
              <a:ext uri="{FF2B5EF4-FFF2-40B4-BE49-F238E27FC236}">
                <a16:creationId xmlns:a16="http://schemas.microsoft.com/office/drawing/2014/main" id="{AFD46EC2-B5DC-6437-56D4-093B892ACDAE}"/>
              </a:ext>
            </a:extLst>
          </p:cNvPr>
          <p:cNvGrpSpPr>
            <a:grpSpLocks noChangeAspect="1"/>
          </p:cNvGrpSpPr>
          <p:nvPr userDrawn="1"/>
        </p:nvGrpSpPr>
        <p:grpSpPr bwMode="auto">
          <a:xfrm>
            <a:off x="9551988" y="4535488"/>
            <a:ext cx="2052637" cy="333375"/>
            <a:chOff x="6017" y="2857"/>
            <a:chExt cx="1293" cy="210"/>
          </a:xfrm>
        </p:grpSpPr>
        <p:sp>
          <p:nvSpPr>
            <p:cNvPr id="27" name="AutoShape 20">
              <a:extLst>
                <a:ext uri="{FF2B5EF4-FFF2-40B4-BE49-F238E27FC236}">
                  <a16:creationId xmlns:a16="http://schemas.microsoft.com/office/drawing/2014/main" id="{85BBF0A3-728C-F607-EE50-BD13FA3975CA}"/>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2">
              <a:extLst>
                <a:ext uri="{FF2B5EF4-FFF2-40B4-BE49-F238E27FC236}">
                  <a16:creationId xmlns:a16="http://schemas.microsoft.com/office/drawing/2014/main" id="{9244E173-08E8-46D7-2FCE-69AB1A47460F}"/>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3">
              <a:extLst>
                <a:ext uri="{FF2B5EF4-FFF2-40B4-BE49-F238E27FC236}">
                  <a16:creationId xmlns:a16="http://schemas.microsoft.com/office/drawing/2014/main" id="{98ED043D-2006-8085-D535-DF2DD0809DC8}"/>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4">
              <a:extLst>
                <a:ext uri="{FF2B5EF4-FFF2-40B4-BE49-F238E27FC236}">
                  <a16:creationId xmlns:a16="http://schemas.microsoft.com/office/drawing/2014/main" id="{3540DB54-3D91-6ADD-0C53-3EE8FB702C03}"/>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5">
              <a:extLst>
                <a:ext uri="{FF2B5EF4-FFF2-40B4-BE49-F238E27FC236}">
                  <a16:creationId xmlns:a16="http://schemas.microsoft.com/office/drawing/2014/main" id="{BF760519-8724-E4A0-1223-2A7D885EB78D}"/>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6">
              <a:extLst>
                <a:ext uri="{FF2B5EF4-FFF2-40B4-BE49-F238E27FC236}">
                  <a16:creationId xmlns:a16="http://schemas.microsoft.com/office/drawing/2014/main" id="{14F4B067-C20C-5952-CBB1-F8197E4A663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7">
              <a:extLst>
                <a:ext uri="{FF2B5EF4-FFF2-40B4-BE49-F238E27FC236}">
                  <a16:creationId xmlns:a16="http://schemas.microsoft.com/office/drawing/2014/main" id="{34A407D1-465E-4834-6778-CCF25D091DC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8">
              <a:extLst>
                <a:ext uri="{FF2B5EF4-FFF2-40B4-BE49-F238E27FC236}">
                  <a16:creationId xmlns:a16="http://schemas.microsoft.com/office/drawing/2014/main" id="{DD695AA3-E97D-B102-EB30-F81D584A3E3B}"/>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9">
              <a:extLst>
                <a:ext uri="{FF2B5EF4-FFF2-40B4-BE49-F238E27FC236}">
                  <a16:creationId xmlns:a16="http://schemas.microsoft.com/office/drawing/2014/main" id="{DBD0E769-F89B-14A1-7A35-F2AFABEA01F8}"/>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0">
              <a:extLst>
                <a:ext uri="{FF2B5EF4-FFF2-40B4-BE49-F238E27FC236}">
                  <a16:creationId xmlns:a16="http://schemas.microsoft.com/office/drawing/2014/main" id="{D324D69C-6115-B23A-0C04-55EF66BC8AC7}"/>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1">
              <a:extLst>
                <a:ext uri="{FF2B5EF4-FFF2-40B4-BE49-F238E27FC236}">
                  <a16:creationId xmlns:a16="http://schemas.microsoft.com/office/drawing/2014/main" id="{6E60E78A-9DDB-60B5-AEAA-1B898E9D965E}"/>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2">
              <a:extLst>
                <a:ext uri="{FF2B5EF4-FFF2-40B4-BE49-F238E27FC236}">
                  <a16:creationId xmlns:a16="http://schemas.microsoft.com/office/drawing/2014/main" id="{4412EA37-5DAC-5098-7192-36500162AB73}"/>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3">
              <a:extLst>
                <a:ext uri="{FF2B5EF4-FFF2-40B4-BE49-F238E27FC236}">
                  <a16:creationId xmlns:a16="http://schemas.microsoft.com/office/drawing/2014/main" id="{E970A321-2E66-AD62-6863-1573B9692C28}"/>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4">
              <a:extLst>
                <a:ext uri="{FF2B5EF4-FFF2-40B4-BE49-F238E27FC236}">
                  <a16:creationId xmlns:a16="http://schemas.microsoft.com/office/drawing/2014/main" id="{60B65A6C-4DBD-21E9-196D-FBF84DD120A6}"/>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5">
              <a:extLst>
                <a:ext uri="{FF2B5EF4-FFF2-40B4-BE49-F238E27FC236}">
                  <a16:creationId xmlns:a16="http://schemas.microsoft.com/office/drawing/2014/main" id="{C0A90B50-9DDE-E6AA-C529-DBD6713D5462}"/>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6">
              <a:extLst>
                <a:ext uri="{FF2B5EF4-FFF2-40B4-BE49-F238E27FC236}">
                  <a16:creationId xmlns:a16="http://schemas.microsoft.com/office/drawing/2014/main" id="{662B9D80-6D30-0271-29EA-1DCC500F7749}"/>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7">
              <a:extLst>
                <a:ext uri="{FF2B5EF4-FFF2-40B4-BE49-F238E27FC236}">
                  <a16:creationId xmlns:a16="http://schemas.microsoft.com/office/drawing/2014/main" id="{A5900D3B-ECA5-CCCC-AD26-2B305A06AC6E}"/>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8">
              <a:extLst>
                <a:ext uri="{FF2B5EF4-FFF2-40B4-BE49-F238E27FC236}">
                  <a16:creationId xmlns:a16="http://schemas.microsoft.com/office/drawing/2014/main" id="{A588A109-B5A1-247F-71F3-4E6DA69C5AA3}"/>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9">
              <a:extLst>
                <a:ext uri="{FF2B5EF4-FFF2-40B4-BE49-F238E27FC236}">
                  <a16:creationId xmlns:a16="http://schemas.microsoft.com/office/drawing/2014/main" id="{FA53FCBF-8A67-F7DE-3BDC-D7788FB881C3}"/>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0">
              <a:extLst>
                <a:ext uri="{FF2B5EF4-FFF2-40B4-BE49-F238E27FC236}">
                  <a16:creationId xmlns:a16="http://schemas.microsoft.com/office/drawing/2014/main" id="{6D3A3691-EF35-CB74-29A0-16EB446DA9A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1">
              <a:extLst>
                <a:ext uri="{FF2B5EF4-FFF2-40B4-BE49-F238E27FC236}">
                  <a16:creationId xmlns:a16="http://schemas.microsoft.com/office/drawing/2014/main" id="{04A5BAAD-0CCF-6036-407C-FDFABC47BBC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2">
              <a:extLst>
                <a:ext uri="{FF2B5EF4-FFF2-40B4-BE49-F238E27FC236}">
                  <a16:creationId xmlns:a16="http://schemas.microsoft.com/office/drawing/2014/main" id="{365FD4B8-6E0D-D9F7-7802-D0B09F6FD1E1}"/>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3">
              <a:extLst>
                <a:ext uri="{FF2B5EF4-FFF2-40B4-BE49-F238E27FC236}">
                  <a16:creationId xmlns:a16="http://schemas.microsoft.com/office/drawing/2014/main" id="{06B980F3-2E43-9A83-6CF9-014F1C83E01D}"/>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4">
              <a:extLst>
                <a:ext uri="{FF2B5EF4-FFF2-40B4-BE49-F238E27FC236}">
                  <a16:creationId xmlns:a16="http://schemas.microsoft.com/office/drawing/2014/main" id="{28156AC5-AD36-0DD7-DCEB-312B3602B1B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5">
              <a:extLst>
                <a:ext uri="{FF2B5EF4-FFF2-40B4-BE49-F238E27FC236}">
                  <a16:creationId xmlns:a16="http://schemas.microsoft.com/office/drawing/2014/main" id="{4E72C3D8-4509-B248-CFF1-CA236A47AFE5}"/>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6">
              <a:extLst>
                <a:ext uri="{FF2B5EF4-FFF2-40B4-BE49-F238E27FC236}">
                  <a16:creationId xmlns:a16="http://schemas.microsoft.com/office/drawing/2014/main" id="{EDE29D08-4761-AC82-B5DF-D485C58093F5}"/>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7">
              <a:extLst>
                <a:ext uri="{FF2B5EF4-FFF2-40B4-BE49-F238E27FC236}">
                  <a16:creationId xmlns:a16="http://schemas.microsoft.com/office/drawing/2014/main" id="{AFE1DB54-E5D8-FD0A-0183-70E733775C40}"/>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8">
              <a:extLst>
                <a:ext uri="{FF2B5EF4-FFF2-40B4-BE49-F238E27FC236}">
                  <a16:creationId xmlns:a16="http://schemas.microsoft.com/office/drawing/2014/main" id="{CD8A175B-C4CB-3142-F490-8DDA88906630}"/>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9">
              <a:extLst>
                <a:ext uri="{FF2B5EF4-FFF2-40B4-BE49-F238E27FC236}">
                  <a16:creationId xmlns:a16="http://schemas.microsoft.com/office/drawing/2014/main" id="{E2710406-8CA5-24F5-C60B-A72850DBE20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308405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ntacts">
    <p:bg>
      <p:bgPr>
        <a:solidFill>
          <a:schemeClr val="accent1"/>
        </a:solidFill>
        <a:effectLst/>
      </p:bgPr>
    </p:bg>
    <p:spTree>
      <p:nvGrpSpPr>
        <p:cNvPr id="1" name=""/>
        <p:cNvGrpSpPr/>
        <p:nvPr/>
      </p:nvGrpSpPr>
      <p:grpSpPr>
        <a:xfrm>
          <a:off x="0" y="0"/>
          <a:ext cx="0" cy="0"/>
          <a:chOff x="0" y="0"/>
          <a:chExt cx="0" cy="0"/>
        </a:xfrm>
      </p:grpSpPr>
      <p:sp>
        <p:nvSpPr>
          <p:cNvPr id="11" name="Grafik 9">
            <a:extLst>
              <a:ext uri="{FF2B5EF4-FFF2-40B4-BE49-F238E27FC236}">
                <a16:creationId xmlns:a16="http://schemas.microsoft.com/office/drawing/2014/main" id="{4A5F9761-A523-642D-A9E9-409901F2EB24}"/>
              </a:ext>
            </a:extLst>
          </p:cNvPr>
          <p:cNvSpPr/>
          <p:nvPr/>
        </p:nvSpPr>
        <p:spPr bwMode="gray">
          <a:xfrm>
            <a:off x="0" y="0"/>
            <a:ext cx="8301010" cy="6758435"/>
          </a:xfrm>
          <a:custGeom>
            <a:avLst/>
            <a:gdLst>
              <a:gd name="connsiteX0" fmla="*/ 109389 w 8301010"/>
              <a:gd name="connsiteY0" fmla="*/ 6745114 h 6758435"/>
              <a:gd name="connsiteX1" fmla="*/ 187270 w 8301010"/>
              <a:gd name="connsiteY1" fmla="*/ 6736359 h 6758435"/>
              <a:gd name="connsiteX2" fmla="*/ 265023 w 8301010"/>
              <a:gd name="connsiteY2" fmla="*/ 6727604 h 6758435"/>
              <a:gd name="connsiteX3" fmla="*/ 342904 w 8301010"/>
              <a:gd name="connsiteY3" fmla="*/ 6718849 h 6758435"/>
              <a:gd name="connsiteX4" fmla="*/ 420785 w 8301010"/>
              <a:gd name="connsiteY4" fmla="*/ 6710094 h 6758435"/>
              <a:gd name="connsiteX5" fmla="*/ 498539 w 8301010"/>
              <a:gd name="connsiteY5" fmla="*/ 6701340 h 6758435"/>
              <a:gd name="connsiteX6" fmla="*/ 576420 w 8301010"/>
              <a:gd name="connsiteY6" fmla="*/ 6692585 h 6758435"/>
              <a:gd name="connsiteX7" fmla="*/ 654173 w 8301010"/>
              <a:gd name="connsiteY7" fmla="*/ 6683831 h 6758435"/>
              <a:gd name="connsiteX8" fmla="*/ 732054 w 8301010"/>
              <a:gd name="connsiteY8" fmla="*/ 6675076 h 6758435"/>
              <a:gd name="connsiteX9" fmla="*/ 809808 w 8301010"/>
              <a:gd name="connsiteY9" fmla="*/ 6666321 h 6758435"/>
              <a:gd name="connsiteX10" fmla="*/ 887562 w 8301010"/>
              <a:gd name="connsiteY10" fmla="*/ 6657566 h 6758435"/>
              <a:gd name="connsiteX11" fmla="*/ 965442 w 8301010"/>
              <a:gd name="connsiteY11" fmla="*/ 6648811 h 6758435"/>
              <a:gd name="connsiteX12" fmla="*/ 1043196 w 8301010"/>
              <a:gd name="connsiteY12" fmla="*/ 6640057 h 6758435"/>
              <a:gd name="connsiteX13" fmla="*/ 1121077 w 8301010"/>
              <a:gd name="connsiteY13" fmla="*/ 6631302 h 6758435"/>
              <a:gd name="connsiteX14" fmla="*/ 1198831 w 8301010"/>
              <a:gd name="connsiteY14" fmla="*/ 6622547 h 6758435"/>
              <a:gd name="connsiteX15" fmla="*/ 1276712 w 8301010"/>
              <a:gd name="connsiteY15" fmla="*/ 6613792 h 6758435"/>
              <a:gd name="connsiteX16" fmla="*/ 1354593 w 8301010"/>
              <a:gd name="connsiteY16" fmla="*/ 6605037 h 6758435"/>
              <a:gd name="connsiteX17" fmla="*/ 1432346 w 8301010"/>
              <a:gd name="connsiteY17" fmla="*/ 6596283 h 6758435"/>
              <a:gd name="connsiteX18" fmla="*/ 1510227 w 8301010"/>
              <a:gd name="connsiteY18" fmla="*/ 6587528 h 6758435"/>
              <a:gd name="connsiteX19" fmla="*/ 1587981 w 8301010"/>
              <a:gd name="connsiteY19" fmla="*/ 6578773 h 6758435"/>
              <a:gd name="connsiteX20" fmla="*/ 1665862 w 8301010"/>
              <a:gd name="connsiteY20" fmla="*/ 6570018 h 6758435"/>
              <a:gd name="connsiteX21" fmla="*/ 1743615 w 8301010"/>
              <a:gd name="connsiteY21" fmla="*/ 6561263 h 6758435"/>
              <a:gd name="connsiteX22" fmla="*/ 1821496 w 8301010"/>
              <a:gd name="connsiteY22" fmla="*/ 6552509 h 6758435"/>
              <a:gd name="connsiteX23" fmla="*/ 1899250 w 8301010"/>
              <a:gd name="connsiteY23" fmla="*/ 6543754 h 6758435"/>
              <a:gd name="connsiteX24" fmla="*/ 1977131 w 8301010"/>
              <a:gd name="connsiteY24" fmla="*/ 6534999 h 6758435"/>
              <a:gd name="connsiteX25" fmla="*/ 2055012 w 8301010"/>
              <a:gd name="connsiteY25" fmla="*/ 6526244 h 6758435"/>
              <a:gd name="connsiteX26" fmla="*/ 2132765 w 8301010"/>
              <a:gd name="connsiteY26" fmla="*/ 6517489 h 6758435"/>
              <a:gd name="connsiteX27" fmla="*/ 2210646 w 8301010"/>
              <a:gd name="connsiteY27" fmla="*/ 6508735 h 6758435"/>
              <a:gd name="connsiteX28" fmla="*/ 2288400 w 8301010"/>
              <a:gd name="connsiteY28" fmla="*/ 6499980 h 6758435"/>
              <a:gd name="connsiteX29" fmla="*/ 2366154 w 8301010"/>
              <a:gd name="connsiteY29" fmla="*/ 6491225 h 6758435"/>
              <a:gd name="connsiteX30" fmla="*/ 2444034 w 8301010"/>
              <a:gd name="connsiteY30" fmla="*/ 6482470 h 6758435"/>
              <a:gd name="connsiteX31" fmla="*/ 2521788 w 8301010"/>
              <a:gd name="connsiteY31" fmla="*/ 6473716 h 6758435"/>
              <a:gd name="connsiteX32" fmla="*/ 2599669 w 8301010"/>
              <a:gd name="connsiteY32" fmla="*/ 6464961 h 6758435"/>
              <a:gd name="connsiteX33" fmla="*/ 2677423 w 8301010"/>
              <a:gd name="connsiteY33" fmla="*/ 6456206 h 6758435"/>
              <a:gd name="connsiteX34" fmla="*/ 2755304 w 8301010"/>
              <a:gd name="connsiteY34" fmla="*/ 6447451 h 6758435"/>
              <a:gd name="connsiteX35" fmla="*/ 2833057 w 8301010"/>
              <a:gd name="connsiteY35" fmla="*/ 6438696 h 6758435"/>
              <a:gd name="connsiteX36" fmla="*/ 2910811 w 8301010"/>
              <a:gd name="connsiteY36" fmla="*/ 6429942 h 6758435"/>
              <a:gd name="connsiteX37" fmla="*/ 2988692 w 8301010"/>
              <a:gd name="connsiteY37" fmla="*/ 6421187 h 6758435"/>
              <a:gd name="connsiteX38" fmla="*/ 3066446 w 8301010"/>
              <a:gd name="connsiteY38" fmla="*/ 6412432 h 6758435"/>
              <a:gd name="connsiteX39" fmla="*/ 3144327 w 8301010"/>
              <a:gd name="connsiteY39" fmla="*/ 6403678 h 6758435"/>
              <a:gd name="connsiteX40" fmla="*/ 3222080 w 8301010"/>
              <a:gd name="connsiteY40" fmla="*/ 6394923 h 6758435"/>
              <a:gd name="connsiteX41" fmla="*/ 3299834 w 8301010"/>
              <a:gd name="connsiteY41" fmla="*/ 6386168 h 6758435"/>
              <a:gd name="connsiteX42" fmla="*/ 3377715 w 8301010"/>
              <a:gd name="connsiteY42" fmla="*/ 6377413 h 6758435"/>
              <a:gd name="connsiteX43" fmla="*/ 3455469 w 8301010"/>
              <a:gd name="connsiteY43" fmla="*/ 6368658 h 6758435"/>
              <a:gd name="connsiteX44" fmla="*/ 3533349 w 8301010"/>
              <a:gd name="connsiteY44" fmla="*/ 6359904 h 6758435"/>
              <a:gd name="connsiteX45" fmla="*/ 3611103 w 8301010"/>
              <a:gd name="connsiteY45" fmla="*/ 6351149 h 6758435"/>
              <a:gd name="connsiteX46" fmla="*/ 3688984 w 8301010"/>
              <a:gd name="connsiteY46" fmla="*/ 6342394 h 6758435"/>
              <a:gd name="connsiteX47" fmla="*/ 3766738 w 8301010"/>
              <a:gd name="connsiteY47" fmla="*/ 6333639 h 6758435"/>
              <a:gd name="connsiteX48" fmla="*/ 3844618 w 8301010"/>
              <a:gd name="connsiteY48" fmla="*/ 6324884 h 6758435"/>
              <a:gd name="connsiteX49" fmla="*/ 3922372 w 8301010"/>
              <a:gd name="connsiteY49" fmla="*/ 6316129 h 6758435"/>
              <a:gd name="connsiteX50" fmla="*/ 4000126 w 8301010"/>
              <a:gd name="connsiteY50" fmla="*/ 6307375 h 6758435"/>
              <a:gd name="connsiteX51" fmla="*/ 4078007 w 8301010"/>
              <a:gd name="connsiteY51" fmla="*/ 6298620 h 6758435"/>
              <a:gd name="connsiteX52" fmla="*/ 4155761 w 8301010"/>
              <a:gd name="connsiteY52" fmla="*/ 6289865 h 6758435"/>
              <a:gd name="connsiteX53" fmla="*/ 4233642 w 8301010"/>
              <a:gd name="connsiteY53" fmla="*/ 6281111 h 6758435"/>
              <a:gd name="connsiteX54" fmla="*/ 4311522 w 8301010"/>
              <a:gd name="connsiteY54" fmla="*/ 6272356 h 6758435"/>
              <a:gd name="connsiteX55" fmla="*/ 4389276 w 8301010"/>
              <a:gd name="connsiteY55" fmla="*/ 6263601 h 6758435"/>
              <a:gd name="connsiteX56" fmla="*/ 4467030 w 8301010"/>
              <a:gd name="connsiteY56" fmla="*/ 6254846 h 6758435"/>
              <a:gd name="connsiteX57" fmla="*/ 4544911 w 8301010"/>
              <a:gd name="connsiteY57" fmla="*/ 6246091 h 6758435"/>
              <a:gd name="connsiteX58" fmla="*/ 4622791 w 8301010"/>
              <a:gd name="connsiteY58" fmla="*/ 6237337 h 6758435"/>
              <a:gd name="connsiteX59" fmla="*/ 4700545 w 8301010"/>
              <a:gd name="connsiteY59" fmla="*/ 6228582 h 6758435"/>
              <a:gd name="connsiteX60" fmla="*/ 4778426 w 8301010"/>
              <a:gd name="connsiteY60" fmla="*/ 6219827 h 6758435"/>
              <a:gd name="connsiteX61" fmla="*/ 4856180 w 8301010"/>
              <a:gd name="connsiteY61" fmla="*/ 6211072 h 6758435"/>
              <a:gd name="connsiteX62" fmla="*/ 4933934 w 8301010"/>
              <a:gd name="connsiteY62" fmla="*/ 6202317 h 6758435"/>
              <a:gd name="connsiteX63" fmla="*/ 5011814 w 8301010"/>
              <a:gd name="connsiteY63" fmla="*/ 6193563 h 6758435"/>
              <a:gd name="connsiteX64" fmla="*/ 5089568 w 8301010"/>
              <a:gd name="connsiteY64" fmla="*/ 6184808 h 6758435"/>
              <a:gd name="connsiteX65" fmla="*/ 5167322 w 8301010"/>
              <a:gd name="connsiteY65" fmla="*/ 6176053 h 6758435"/>
              <a:gd name="connsiteX66" fmla="*/ 5245203 w 8301010"/>
              <a:gd name="connsiteY66" fmla="*/ 6167298 h 6758435"/>
              <a:gd name="connsiteX67" fmla="*/ 5322956 w 8301010"/>
              <a:gd name="connsiteY67" fmla="*/ 6158544 h 6758435"/>
              <a:gd name="connsiteX68" fmla="*/ 5400710 w 8301010"/>
              <a:gd name="connsiteY68" fmla="*/ 6149789 h 6758435"/>
              <a:gd name="connsiteX69" fmla="*/ 5478464 w 8301010"/>
              <a:gd name="connsiteY69" fmla="*/ 6141034 h 6758435"/>
              <a:gd name="connsiteX70" fmla="*/ 5556345 w 8301010"/>
              <a:gd name="connsiteY70" fmla="*/ 6132279 h 6758435"/>
              <a:gd name="connsiteX71" fmla="*/ 5634098 w 8301010"/>
              <a:gd name="connsiteY71" fmla="*/ 6123524 h 6758435"/>
              <a:gd name="connsiteX72" fmla="*/ 6252571 w 8301010"/>
              <a:gd name="connsiteY72" fmla="*/ 5697078 h 6758435"/>
              <a:gd name="connsiteX73" fmla="*/ 8237579 w 8301010"/>
              <a:gd name="connsiteY73" fmla="*/ 1270712 h 6758435"/>
              <a:gd name="connsiteX74" fmla="*/ 7872441 w 8301010"/>
              <a:gd name="connsiteY74" fmla="*/ 314665 h 6758435"/>
              <a:gd name="connsiteX75" fmla="*/ 7174182 w 8301010"/>
              <a:gd name="connsiteY75" fmla="*/ 0 h 6758435"/>
              <a:gd name="connsiteX76" fmla="*/ 0 w 8301010"/>
              <a:gd name="connsiteY76" fmla="*/ 0 h 6758435"/>
              <a:gd name="connsiteX77" fmla="*/ 0 w 8301010"/>
              <a:gd name="connsiteY77" fmla="*/ 6758436 h 6758435"/>
              <a:gd name="connsiteX78" fmla="*/ 31635 w 8301010"/>
              <a:gd name="connsiteY78" fmla="*/ 6753995 h 6758435"/>
              <a:gd name="connsiteX79" fmla="*/ 109389 w 8301010"/>
              <a:gd name="connsiteY79" fmla="*/ 6745241 h 675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301010" h="6758435">
                <a:moveTo>
                  <a:pt x="109389" y="6745114"/>
                </a:moveTo>
                <a:cubicBezTo>
                  <a:pt x="135561" y="6743591"/>
                  <a:pt x="161479" y="6740673"/>
                  <a:pt x="187270" y="6736359"/>
                </a:cubicBezTo>
                <a:cubicBezTo>
                  <a:pt x="213442" y="6734836"/>
                  <a:pt x="239360" y="6731918"/>
                  <a:pt x="265023" y="6727604"/>
                </a:cubicBezTo>
                <a:cubicBezTo>
                  <a:pt x="291195" y="6726081"/>
                  <a:pt x="317113" y="6723163"/>
                  <a:pt x="342904" y="6718849"/>
                </a:cubicBezTo>
                <a:cubicBezTo>
                  <a:pt x="369076" y="6717327"/>
                  <a:pt x="394994" y="6714409"/>
                  <a:pt x="420785" y="6710094"/>
                </a:cubicBezTo>
                <a:cubicBezTo>
                  <a:pt x="446957" y="6708572"/>
                  <a:pt x="472875" y="6705654"/>
                  <a:pt x="498539" y="6701340"/>
                </a:cubicBezTo>
                <a:cubicBezTo>
                  <a:pt x="524711" y="6699817"/>
                  <a:pt x="550629" y="6696899"/>
                  <a:pt x="576420" y="6692585"/>
                </a:cubicBezTo>
                <a:cubicBezTo>
                  <a:pt x="602592" y="6691062"/>
                  <a:pt x="628510" y="6688144"/>
                  <a:pt x="654173" y="6683831"/>
                </a:cubicBezTo>
                <a:cubicBezTo>
                  <a:pt x="680345" y="6682307"/>
                  <a:pt x="706263" y="6679389"/>
                  <a:pt x="732054" y="6675076"/>
                </a:cubicBezTo>
                <a:cubicBezTo>
                  <a:pt x="758226" y="6673553"/>
                  <a:pt x="784144" y="6670635"/>
                  <a:pt x="809808" y="6666321"/>
                </a:cubicBezTo>
                <a:cubicBezTo>
                  <a:pt x="835980" y="6664799"/>
                  <a:pt x="861898" y="6661880"/>
                  <a:pt x="887562" y="6657566"/>
                </a:cubicBezTo>
                <a:cubicBezTo>
                  <a:pt x="913734" y="6656044"/>
                  <a:pt x="939652" y="6653125"/>
                  <a:pt x="965442" y="6648811"/>
                </a:cubicBezTo>
                <a:cubicBezTo>
                  <a:pt x="991615" y="6647289"/>
                  <a:pt x="1017532" y="6644370"/>
                  <a:pt x="1043196" y="6640057"/>
                </a:cubicBezTo>
                <a:cubicBezTo>
                  <a:pt x="1069368" y="6638534"/>
                  <a:pt x="1095286" y="6635615"/>
                  <a:pt x="1121077" y="6631302"/>
                </a:cubicBezTo>
                <a:cubicBezTo>
                  <a:pt x="1147249" y="6629779"/>
                  <a:pt x="1173167" y="6626861"/>
                  <a:pt x="1198831" y="6622547"/>
                </a:cubicBezTo>
                <a:cubicBezTo>
                  <a:pt x="1225003" y="6621025"/>
                  <a:pt x="1250921" y="6618106"/>
                  <a:pt x="1276712" y="6613792"/>
                </a:cubicBezTo>
                <a:cubicBezTo>
                  <a:pt x="1302884" y="6612270"/>
                  <a:pt x="1328929" y="6609351"/>
                  <a:pt x="1354593" y="6605037"/>
                </a:cubicBezTo>
                <a:cubicBezTo>
                  <a:pt x="1380764" y="6603515"/>
                  <a:pt x="1406682" y="6600596"/>
                  <a:pt x="1432346" y="6596283"/>
                </a:cubicBezTo>
                <a:cubicBezTo>
                  <a:pt x="1458518" y="6594760"/>
                  <a:pt x="1484436" y="6591842"/>
                  <a:pt x="1510227" y="6587528"/>
                </a:cubicBezTo>
                <a:cubicBezTo>
                  <a:pt x="1536399" y="6586005"/>
                  <a:pt x="1562317" y="6583087"/>
                  <a:pt x="1587981" y="6578773"/>
                </a:cubicBezTo>
                <a:cubicBezTo>
                  <a:pt x="1614153" y="6577250"/>
                  <a:pt x="1640198" y="6574332"/>
                  <a:pt x="1665862" y="6570018"/>
                </a:cubicBezTo>
                <a:cubicBezTo>
                  <a:pt x="1692034" y="6568496"/>
                  <a:pt x="1717952" y="6565578"/>
                  <a:pt x="1743615" y="6561263"/>
                </a:cubicBezTo>
                <a:cubicBezTo>
                  <a:pt x="1769787" y="6559741"/>
                  <a:pt x="1795705" y="6556823"/>
                  <a:pt x="1821496" y="6552509"/>
                </a:cubicBezTo>
                <a:cubicBezTo>
                  <a:pt x="1847668" y="6550986"/>
                  <a:pt x="1873586" y="6548068"/>
                  <a:pt x="1899250" y="6543754"/>
                </a:cubicBezTo>
                <a:cubicBezTo>
                  <a:pt x="1925422" y="6542231"/>
                  <a:pt x="1951340" y="6539313"/>
                  <a:pt x="1977131" y="6534999"/>
                </a:cubicBezTo>
                <a:cubicBezTo>
                  <a:pt x="2003303" y="6533476"/>
                  <a:pt x="2029221" y="6530558"/>
                  <a:pt x="2055012" y="6526244"/>
                </a:cubicBezTo>
                <a:cubicBezTo>
                  <a:pt x="2081184" y="6524722"/>
                  <a:pt x="2107102" y="6521804"/>
                  <a:pt x="2132765" y="6517489"/>
                </a:cubicBezTo>
                <a:cubicBezTo>
                  <a:pt x="2158937" y="6515967"/>
                  <a:pt x="2184855" y="6513049"/>
                  <a:pt x="2210646" y="6508735"/>
                </a:cubicBezTo>
                <a:cubicBezTo>
                  <a:pt x="2236818" y="6507212"/>
                  <a:pt x="2262736" y="6504294"/>
                  <a:pt x="2288400" y="6499980"/>
                </a:cubicBezTo>
                <a:cubicBezTo>
                  <a:pt x="2314572" y="6498457"/>
                  <a:pt x="2340490" y="6495539"/>
                  <a:pt x="2366154" y="6491225"/>
                </a:cubicBezTo>
                <a:cubicBezTo>
                  <a:pt x="2392326" y="6489703"/>
                  <a:pt x="2418244" y="6486784"/>
                  <a:pt x="2444034" y="6482470"/>
                </a:cubicBezTo>
                <a:cubicBezTo>
                  <a:pt x="2470206" y="6480948"/>
                  <a:pt x="2496124" y="6478030"/>
                  <a:pt x="2521788" y="6473716"/>
                </a:cubicBezTo>
                <a:cubicBezTo>
                  <a:pt x="2547960" y="6472193"/>
                  <a:pt x="2573878" y="6469275"/>
                  <a:pt x="2599669" y="6464961"/>
                </a:cubicBezTo>
                <a:cubicBezTo>
                  <a:pt x="2625841" y="6463438"/>
                  <a:pt x="2651759" y="6460520"/>
                  <a:pt x="2677423" y="6456206"/>
                </a:cubicBezTo>
                <a:cubicBezTo>
                  <a:pt x="2703595" y="6454684"/>
                  <a:pt x="2729640" y="6451765"/>
                  <a:pt x="2755304" y="6447451"/>
                </a:cubicBezTo>
                <a:cubicBezTo>
                  <a:pt x="2781476" y="6445929"/>
                  <a:pt x="2807394" y="6443010"/>
                  <a:pt x="2833057" y="6438696"/>
                </a:cubicBezTo>
                <a:cubicBezTo>
                  <a:pt x="2859229" y="6437174"/>
                  <a:pt x="2885147" y="6434256"/>
                  <a:pt x="2910811" y="6429942"/>
                </a:cubicBezTo>
                <a:cubicBezTo>
                  <a:pt x="2936983" y="6428419"/>
                  <a:pt x="2962901" y="6425501"/>
                  <a:pt x="2988692" y="6421187"/>
                </a:cubicBezTo>
                <a:cubicBezTo>
                  <a:pt x="3014864" y="6419664"/>
                  <a:pt x="3040782" y="6416746"/>
                  <a:pt x="3066446" y="6412432"/>
                </a:cubicBezTo>
                <a:cubicBezTo>
                  <a:pt x="3092618" y="6410909"/>
                  <a:pt x="3118536" y="6407991"/>
                  <a:pt x="3144327" y="6403678"/>
                </a:cubicBezTo>
                <a:cubicBezTo>
                  <a:pt x="3170499" y="6402155"/>
                  <a:pt x="3196416" y="6399237"/>
                  <a:pt x="3222080" y="6394923"/>
                </a:cubicBezTo>
                <a:cubicBezTo>
                  <a:pt x="3248252" y="6393400"/>
                  <a:pt x="3274170" y="6390482"/>
                  <a:pt x="3299834" y="6386168"/>
                </a:cubicBezTo>
                <a:cubicBezTo>
                  <a:pt x="3326006" y="6384645"/>
                  <a:pt x="3352051" y="6381727"/>
                  <a:pt x="3377715" y="6377413"/>
                </a:cubicBezTo>
                <a:cubicBezTo>
                  <a:pt x="3403887" y="6375891"/>
                  <a:pt x="3429805" y="6372972"/>
                  <a:pt x="3455469" y="6368658"/>
                </a:cubicBezTo>
                <a:cubicBezTo>
                  <a:pt x="3481641" y="6367136"/>
                  <a:pt x="3507685" y="6364217"/>
                  <a:pt x="3533349" y="6359904"/>
                </a:cubicBezTo>
                <a:cubicBezTo>
                  <a:pt x="3559522" y="6358381"/>
                  <a:pt x="3585439" y="6355463"/>
                  <a:pt x="3611103" y="6351149"/>
                </a:cubicBezTo>
                <a:cubicBezTo>
                  <a:pt x="3637275" y="6349626"/>
                  <a:pt x="3663193" y="6346708"/>
                  <a:pt x="3688984" y="6342394"/>
                </a:cubicBezTo>
                <a:cubicBezTo>
                  <a:pt x="3715156" y="6340871"/>
                  <a:pt x="3741074" y="6337953"/>
                  <a:pt x="3766738" y="6333639"/>
                </a:cubicBezTo>
                <a:cubicBezTo>
                  <a:pt x="3792910" y="6332117"/>
                  <a:pt x="3818955" y="6329198"/>
                  <a:pt x="3844618" y="6324884"/>
                </a:cubicBezTo>
                <a:cubicBezTo>
                  <a:pt x="3870791" y="6323362"/>
                  <a:pt x="3896708" y="6320444"/>
                  <a:pt x="3922372" y="6316129"/>
                </a:cubicBezTo>
                <a:cubicBezTo>
                  <a:pt x="3948544" y="6314607"/>
                  <a:pt x="3974462" y="6311689"/>
                  <a:pt x="4000126" y="6307375"/>
                </a:cubicBezTo>
                <a:cubicBezTo>
                  <a:pt x="4026298" y="6305852"/>
                  <a:pt x="4052343" y="6302934"/>
                  <a:pt x="4078007" y="6298620"/>
                </a:cubicBezTo>
                <a:cubicBezTo>
                  <a:pt x="4104179" y="6297097"/>
                  <a:pt x="4130097" y="6294179"/>
                  <a:pt x="4155761" y="6289865"/>
                </a:cubicBezTo>
                <a:cubicBezTo>
                  <a:pt x="4181933" y="6288343"/>
                  <a:pt x="4207851" y="6285425"/>
                  <a:pt x="4233642" y="6281111"/>
                </a:cubicBezTo>
                <a:cubicBezTo>
                  <a:pt x="4259814" y="6279588"/>
                  <a:pt x="4285731" y="6276670"/>
                  <a:pt x="4311522" y="6272356"/>
                </a:cubicBezTo>
                <a:cubicBezTo>
                  <a:pt x="4337694" y="6270833"/>
                  <a:pt x="4363612" y="6267915"/>
                  <a:pt x="4389276" y="6263601"/>
                </a:cubicBezTo>
                <a:cubicBezTo>
                  <a:pt x="4415448" y="6262078"/>
                  <a:pt x="4441366" y="6259160"/>
                  <a:pt x="4467030" y="6254846"/>
                </a:cubicBezTo>
                <a:cubicBezTo>
                  <a:pt x="4493202" y="6253324"/>
                  <a:pt x="4519120" y="6250405"/>
                  <a:pt x="4544911" y="6246091"/>
                </a:cubicBezTo>
                <a:cubicBezTo>
                  <a:pt x="4571083" y="6244569"/>
                  <a:pt x="4597128" y="6241650"/>
                  <a:pt x="4622791" y="6237337"/>
                </a:cubicBezTo>
                <a:cubicBezTo>
                  <a:pt x="4648964" y="6235814"/>
                  <a:pt x="4674881" y="6232896"/>
                  <a:pt x="4700545" y="6228582"/>
                </a:cubicBezTo>
                <a:cubicBezTo>
                  <a:pt x="4726717" y="6227059"/>
                  <a:pt x="4752762" y="6224141"/>
                  <a:pt x="4778426" y="6219827"/>
                </a:cubicBezTo>
                <a:cubicBezTo>
                  <a:pt x="4804598" y="6218304"/>
                  <a:pt x="4830516" y="6215386"/>
                  <a:pt x="4856180" y="6211072"/>
                </a:cubicBezTo>
                <a:cubicBezTo>
                  <a:pt x="4882352" y="6209550"/>
                  <a:pt x="4908269" y="6206632"/>
                  <a:pt x="4933934" y="6202317"/>
                </a:cubicBezTo>
                <a:cubicBezTo>
                  <a:pt x="4960106" y="6200795"/>
                  <a:pt x="4986024" y="6197877"/>
                  <a:pt x="5011814" y="6193563"/>
                </a:cubicBezTo>
                <a:cubicBezTo>
                  <a:pt x="5037986" y="6192040"/>
                  <a:pt x="5063904" y="6189122"/>
                  <a:pt x="5089568" y="6184808"/>
                </a:cubicBezTo>
                <a:cubicBezTo>
                  <a:pt x="5115740" y="6183285"/>
                  <a:pt x="5141658" y="6180367"/>
                  <a:pt x="5167322" y="6176053"/>
                </a:cubicBezTo>
                <a:cubicBezTo>
                  <a:pt x="5193494" y="6174531"/>
                  <a:pt x="5219539" y="6171612"/>
                  <a:pt x="5245203" y="6167298"/>
                </a:cubicBezTo>
                <a:cubicBezTo>
                  <a:pt x="5271375" y="6165776"/>
                  <a:pt x="5297293" y="6162858"/>
                  <a:pt x="5322956" y="6158544"/>
                </a:cubicBezTo>
                <a:cubicBezTo>
                  <a:pt x="5349128" y="6157021"/>
                  <a:pt x="5375046" y="6154103"/>
                  <a:pt x="5400710" y="6149789"/>
                </a:cubicBezTo>
                <a:cubicBezTo>
                  <a:pt x="5426882" y="6148266"/>
                  <a:pt x="5452800" y="6145348"/>
                  <a:pt x="5478464" y="6141034"/>
                </a:cubicBezTo>
                <a:cubicBezTo>
                  <a:pt x="5504636" y="6139512"/>
                  <a:pt x="5530681" y="6136593"/>
                  <a:pt x="5556345" y="6132279"/>
                </a:cubicBezTo>
                <a:cubicBezTo>
                  <a:pt x="5582517" y="6130757"/>
                  <a:pt x="5608435" y="6127838"/>
                  <a:pt x="5634098" y="6123524"/>
                </a:cubicBezTo>
                <a:cubicBezTo>
                  <a:pt x="5894929" y="6107918"/>
                  <a:pt x="6138354" y="5951728"/>
                  <a:pt x="6252571" y="5697078"/>
                </a:cubicBezTo>
                <a:lnTo>
                  <a:pt x="8237579" y="1270712"/>
                </a:lnTo>
                <a:cubicBezTo>
                  <a:pt x="8401090" y="906056"/>
                  <a:pt x="8237579" y="477960"/>
                  <a:pt x="7872441" y="314665"/>
                </a:cubicBezTo>
                <a:lnTo>
                  <a:pt x="7174182" y="0"/>
                </a:lnTo>
                <a:lnTo>
                  <a:pt x="0" y="0"/>
                </a:lnTo>
                <a:lnTo>
                  <a:pt x="0" y="6758436"/>
                </a:lnTo>
                <a:cubicBezTo>
                  <a:pt x="10545" y="6757167"/>
                  <a:pt x="21217" y="6755772"/>
                  <a:pt x="31635" y="6753995"/>
                </a:cubicBezTo>
                <a:cubicBezTo>
                  <a:pt x="57807" y="6752473"/>
                  <a:pt x="83725" y="6749555"/>
                  <a:pt x="109389" y="6745241"/>
                </a:cubicBezTo>
                <a:close/>
              </a:path>
            </a:pathLst>
          </a:custGeom>
          <a:solidFill>
            <a:srgbClr val="FFFFFF"/>
          </a:solidFill>
          <a:ln w="0" cap="flat">
            <a:noFill/>
            <a:prstDash val="solid"/>
            <a:miter/>
          </a:ln>
        </p:spPr>
        <p:txBody>
          <a:bodyPr rtlCol="0" anchor="ctr"/>
          <a:lstStyle/>
          <a:p>
            <a:endParaRPr lang="de-DE"/>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17" name="Titel 1">
            <a:extLst>
              <a:ext uri="{FF2B5EF4-FFF2-40B4-BE49-F238E27FC236}">
                <a16:creationId xmlns:a16="http://schemas.microsoft.com/office/drawing/2014/main" id="{B3E4315A-3188-DEAA-978C-6BEF8BA38BD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6119924"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968"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968"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grpSp>
        <p:nvGrpSpPr>
          <p:cNvPr id="2" name="Group 4">
            <a:extLst>
              <a:ext uri="{FF2B5EF4-FFF2-40B4-BE49-F238E27FC236}">
                <a16:creationId xmlns:a16="http://schemas.microsoft.com/office/drawing/2014/main" id="{F8637296-DD63-C470-09DE-AF344ACEEBFD}"/>
              </a:ext>
            </a:extLst>
          </p:cNvPr>
          <p:cNvGrpSpPr>
            <a:grpSpLocks noChangeAspect="1"/>
          </p:cNvGrpSpPr>
          <p:nvPr userDrawn="1"/>
        </p:nvGrpSpPr>
        <p:grpSpPr bwMode="auto">
          <a:xfrm>
            <a:off x="9551988" y="5553075"/>
            <a:ext cx="1879600" cy="323850"/>
            <a:chOff x="6017" y="3498"/>
            <a:chExt cx="1184" cy="204"/>
          </a:xfrm>
        </p:grpSpPr>
        <p:sp>
          <p:nvSpPr>
            <p:cNvPr id="4" name="AutoShape 3">
              <a:extLst>
                <a:ext uri="{FF2B5EF4-FFF2-40B4-BE49-F238E27FC236}">
                  <a16:creationId xmlns:a16="http://schemas.microsoft.com/office/drawing/2014/main" id="{4E76BC71-A92E-89B9-5120-5F1E512FA00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Freeform 5">
              <a:extLst>
                <a:ext uri="{FF2B5EF4-FFF2-40B4-BE49-F238E27FC236}">
                  <a16:creationId xmlns:a16="http://schemas.microsoft.com/office/drawing/2014/main" id="{38A0A3FA-679E-477B-4D0C-5FA741C00FA7}"/>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6">
              <a:extLst>
                <a:ext uri="{FF2B5EF4-FFF2-40B4-BE49-F238E27FC236}">
                  <a16:creationId xmlns:a16="http://schemas.microsoft.com/office/drawing/2014/main" id="{89EFA882-1277-D7BA-8795-72B7ADD28BB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7423F318-25CF-3C2D-23B5-B3EC1D111CB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21D8B70A-63DE-FBC6-2B1A-4E6F71CEB638}"/>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9">
              <a:extLst>
                <a:ext uri="{FF2B5EF4-FFF2-40B4-BE49-F238E27FC236}">
                  <a16:creationId xmlns:a16="http://schemas.microsoft.com/office/drawing/2014/main" id="{6D0AF921-7D42-BDE9-7089-2735B66F0424}"/>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0">
              <a:extLst>
                <a:ext uri="{FF2B5EF4-FFF2-40B4-BE49-F238E27FC236}">
                  <a16:creationId xmlns:a16="http://schemas.microsoft.com/office/drawing/2014/main" id="{A0D83BE7-9448-DFB5-6389-B80ADF161DE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1">
              <a:extLst>
                <a:ext uri="{FF2B5EF4-FFF2-40B4-BE49-F238E27FC236}">
                  <a16:creationId xmlns:a16="http://schemas.microsoft.com/office/drawing/2014/main" id="{0DBF562C-FF94-A4A6-532D-C6566CD878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12">
              <a:extLst>
                <a:ext uri="{FF2B5EF4-FFF2-40B4-BE49-F238E27FC236}">
                  <a16:creationId xmlns:a16="http://schemas.microsoft.com/office/drawing/2014/main" id="{5DE67C45-6B18-020E-79A9-31B78DC03ACF}"/>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3">
              <a:extLst>
                <a:ext uri="{FF2B5EF4-FFF2-40B4-BE49-F238E27FC236}">
                  <a16:creationId xmlns:a16="http://schemas.microsoft.com/office/drawing/2014/main" id="{DE1D13CC-E1AB-9CDF-8A75-121579D604A4}"/>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4">
              <a:extLst>
                <a:ext uri="{FF2B5EF4-FFF2-40B4-BE49-F238E27FC236}">
                  <a16:creationId xmlns:a16="http://schemas.microsoft.com/office/drawing/2014/main" id="{643F101C-0190-9788-B177-CF93B3C8D8DD}"/>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5">
              <a:extLst>
                <a:ext uri="{FF2B5EF4-FFF2-40B4-BE49-F238E27FC236}">
                  <a16:creationId xmlns:a16="http://schemas.microsoft.com/office/drawing/2014/main" id="{A779D476-DA0A-2499-9E0D-C8229BF7EE28}"/>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6">
              <a:extLst>
                <a:ext uri="{FF2B5EF4-FFF2-40B4-BE49-F238E27FC236}">
                  <a16:creationId xmlns:a16="http://schemas.microsoft.com/office/drawing/2014/main" id="{949E0EA5-1BB7-4BAB-A174-13011330A5E8}"/>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7">
              <a:extLst>
                <a:ext uri="{FF2B5EF4-FFF2-40B4-BE49-F238E27FC236}">
                  <a16:creationId xmlns:a16="http://schemas.microsoft.com/office/drawing/2014/main" id="{275DADFA-3A81-42DF-4175-C1C21256DE21}"/>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Oval 18">
              <a:extLst>
                <a:ext uri="{FF2B5EF4-FFF2-40B4-BE49-F238E27FC236}">
                  <a16:creationId xmlns:a16="http://schemas.microsoft.com/office/drawing/2014/main" id="{7366956B-B24D-344A-AB52-E55877CBFE8B}"/>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8" name="Group 21">
            <a:extLst>
              <a:ext uri="{FF2B5EF4-FFF2-40B4-BE49-F238E27FC236}">
                <a16:creationId xmlns:a16="http://schemas.microsoft.com/office/drawing/2014/main" id="{FAD5F448-8330-D9E8-1035-C08077DA20CF}"/>
              </a:ext>
            </a:extLst>
          </p:cNvPr>
          <p:cNvGrpSpPr>
            <a:grpSpLocks noChangeAspect="1"/>
          </p:cNvGrpSpPr>
          <p:nvPr userDrawn="1"/>
        </p:nvGrpSpPr>
        <p:grpSpPr bwMode="auto">
          <a:xfrm>
            <a:off x="9551988" y="4535488"/>
            <a:ext cx="2052637" cy="333375"/>
            <a:chOff x="6017" y="2857"/>
            <a:chExt cx="1293" cy="210"/>
          </a:xfrm>
        </p:grpSpPr>
        <p:sp>
          <p:nvSpPr>
            <p:cNvPr id="29" name="AutoShape 20">
              <a:extLst>
                <a:ext uri="{FF2B5EF4-FFF2-40B4-BE49-F238E27FC236}">
                  <a16:creationId xmlns:a16="http://schemas.microsoft.com/office/drawing/2014/main" id="{90070BC8-81FE-8AE9-AE97-F37A90613769}"/>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2">
              <a:extLst>
                <a:ext uri="{FF2B5EF4-FFF2-40B4-BE49-F238E27FC236}">
                  <a16:creationId xmlns:a16="http://schemas.microsoft.com/office/drawing/2014/main" id="{D269881B-DA1D-823A-B35C-DE5317E41956}"/>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3">
              <a:extLst>
                <a:ext uri="{FF2B5EF4-FFF2-40B4-BE49-F238E27FC236}">
                  <a16:creationId xmlns:a16="http://schemas.microsoft.com/office/drawing/2014/main" id="{D63875EA-D6DF-D505-60B5-9F8C1F1C601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4">
              <a:extLst>
                <a:ext uri="{FF2B5EF4-FFF2-40B4-BE49-F238E27FC236}">
                  <a16:creationId xmlns:a16="http://schemas.microsoft.com/office/drawing/2014/main" id="{026B12E2-60D2-DC3B-B919-2E309996BD92}"/>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5">
              <a:extLst>
                <a:ext uri="{FF2B5EF4-FFF2-40B4-BE49-F238E27FC236}">
                  <a16:creationId xmlns:a16="http://schemas.microsoft.com/office/drawing/2014/main" id="{376DE096-BB7B-3ABC-E843-D3169ECF7995}"/>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6">
              <a:extLst>
                <a:ext uri="{FF2B5EF4-FFF2-40B4-BE49-F238E27FC236}">
                  <a16:creationId xmlns:a16="http://schemas.microsoft.com/office/drawing/2014/main" id="{C344B7F5-81F9-6F00-CE27-85562A3CF2A8}"/>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7">
              <a:extLst>
                <a:ext uri="{FF2B5EF4-FFF2-40B4-BE49-F238E27FC236}">
                  <a16:creationId xmlns:a16="http://schemas.microsoft.com/office/drawing/2014/main" id="{7AD2DBD2-47E3-97A8-8381-4A73578E9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8">
              <a:extLst>
                <a:ext uri="{FF2B5EF4-FFF2-40B4-BE49-F238E27FC236}">
                  <a16:creationId xmlns:a16="http://schemas.microsoft.com/office/drawing/2014/main" id="{982EE4EE-6504-B876-6F12-3A5BCF3A274E}"/>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9">
              <a:extLst>
                <a:ext uri="{FF2B5EF4-FFF2-40B4-BE49-F238E27FC236}">
                  <a16:creationId xmlns:a16="http://schemas.microsoft.com/office/drawing/2014/main" id="{55215320-4BF3-A1A4-CFE6-7F3C6A71B5AD}"/>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0">
              <a:extLst>
                <a:ext uri="{FF2B5EF4-FFF2-40B4-BE49-F238E27FC236}">
                  <a16:creationId xmlns:a16="http://schemas.microsoft.com/office/drawing/2014/main" id="{90C1C1C2-3D70-39FA-38E0-CB8A5645B413}"/>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1">
              <a:extLst>
                <a:ext uri="{FF2B5EF4-FFF2-40B4-BE49-F238E27FC236}">
                  <a16:creationId xmlns:a16="http://schemas.microsoft.com/office/drawing/2014/main" id="{ED6FFEF6-0BD1-7BF5-7EE7-7F76440B7C6D}"/>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2">
              <a:extLst>
                <a:ext uri="{FF2B5EF4-FFF2-40B4-BE49-F238E27FC236}">
                  <a16:creationId xmlns:a16="http://schemas.microsoft.com/office/drawing/2014/main" id="{10397568-735D-09C5-A13C-427440648FA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3">
              <a:extLst>
                <a:ext uri="{FF2B5EF4-FFF2-40B4-BE49-F238E27FC236}">
                  <a16:creationId xmlns:a16="http://schemas.microsoft.com/office/drawing/2014/main" id="{79D6C3E6-EA40-224C-E27A-D2F718307D11}"/>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4">
              <a:extLst>
                <a:ext uri="{FF2B5EF4-FFF2-40B4-BE49-F238E27FC236}">
                  <a16:creationId xmlns:a16="http://schemas.microsoft.com/office/drawing/2014/main" id="{A37570D9-1883-D02F-69AD-783ED10778FC}"/>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5">
              <a:extLst>
                <a:ext uri="{FF2B5EF4-FFF2-40B4-BE49-F238E27FC236}">
                  <a16:creationId xmlns:a16="http://schemas.microsoft.com/office/drawing/2014/main" id="{2190D694-713E-EE4D-2E2B-9571E154C799}"/>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6">
              <a:extLst>
                <a:ext uri="{FF2B5EF4-FFF2-40B4-BE49-F238E27FC236}">
                  <a16:creationId xmlns:a16="http://schemas.microsoft.com/office/drawing/2014/main" id="{4D2828E4-E8B8-BDE3-BF7B-EFCAF9EBE8C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7">
              <a:extLst>
                <a:ext uri="{FF2B5EF4-FFF2-40B4-BE49-F238E27FC236}">
                  <a16:creationId xmlns:a16="http://schemas.microsoft.com/office/drawing/2014/main" id="{B9220D65-38CE-9421-7320-B9ED813FEDB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8">
              <a:extLst>
                <a:ext uri="{FF2B5EF4-FFF2-40B4-BE49-F238E27FC236}">
                  <a16:creationId xmlns:a16="http://schemas.microsoft.com/office/drawing/2014/main" id="{C57FA2E4-DDDF-B24C-B646-0AF0DB071A3A}"/>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9">
              <a:extLst>
                <a:ext uri="{FF2B5EF4-FFF2-40B4-BE49-F238E27FC236}">
                  <a16:creationId xmlns:a16="http://schemas.microsoft.com/office/drawing/2014/main" id="{0EDACDC8-7D9E-3EFB-B552-E3888681CB58}"/>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0">
              <a:extLst>
                <a:ext uri="{FF2B5EF4-FFF2-40B4-BE49-F238E27FC236}">
                  <a16:creationId xmlns:a16="http://schemas.microsoft.com/office/drawing/2014/main" id="{8C5C2A1A-5D73-79FE-BBA1-480EE88890A9}"/>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1">
              <a:extLst>
                <a:ext uri="{FF2B5EF4-FFF2-40B4-BE49-F238E27FC236}">
                  <a16:creationId xmlns:a16="http://schemas.microsoft.com/office/drawing/2014/main" id="{14BFB97E-3E2F-7D09-AE9E-8B0893382753}"/>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2">
              <a:extLst>
                <a:ext uri="{FF2B5EF4-FFF2-40B4-BE49-F238E27FC236}">
                  <a16:creationId xmlns:a16="http://schemas.microsoft.com/office/drawing/2014/main" id="{C1C3A59F-967D-7DA9-7678-966E40870238}"/>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3">
              <a:extLst>
                <a:ext uri="{FF2B5EF4-FFF2-40B4-BE49-F238E27FC236}">
                  <a16:creationId xmlns:a16="http://schemas.microsoft.com/office/drawing/2014/main" id="{8DD6E6FA-EAA0-BB94-52DB-314499465D7A}"/>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4">
              <a:extLst>
                <a:ext uri="{FF2B5EF4-FFF2-40B4-BE49-F238E27FC236}">
                  <a16:creationId xmlns:a16="http://schemas.microsoft.com/office/drawing/2014/main" id="{FB7F66F6-1663-4002-C68E-1737516A70A8}"/>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5">
              <a:extLst>
                <a:ext uri="{FF2B5EF4-FFF2-40B4-BE49-F238E27FC236}">
                  <a16:creationId xmlns:a16="http://schemas.microsoft.com/office/drawing/2014/main" id="{8E5733B2-48D7-AFFC-BE87-0F71D3E0FF94}"/>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6">
              <a:extLst>
                <a:ext uri="{FF2B5EF4-FFF2-40B4-BE49-F238E27FC236}">
                  <a16:creationId xmlns:a16="http://schemas.microsoft.com/office/drawing/2014/main" id="{2641855E-7CEA-3A8B-B9A7-E05D94C47B3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7">
              <a:extLst>
                <a:ext uri="{FF2B5EF4-FFF2-40B4-BE49-F238E27FC236}">
                  <a16:creationId xmlns:a16="http://schemas.microsoft.com/office/drawing/2014/main" id="{A7F9DFCA-CC73-2FCA-110B-540176DB0793}"/>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8">
              <a:extLst>
                <a:ext uri="{FF2B5EF4-FFF2-40B4-BE49-F238E27FC236}">
                  <a16:creationId xmlns:a16="http://schemas.microsoft.com/office/drawing/2014/main" id="{30E6E93D-270B-CB7B-1BDF-1D5F48CABFAE}"/>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9">
              <a:extLst>
                <a:ext uri="{FF2B5EF4-FFF2-40B4-BE49-F238E27FC236}">
                  <a16:creationId xmlns:a16="http://schemas.microsoft.com/office/drawing/2014/main" id="{CB4456E5-3EB1-6D05-9A04-8CCF8EA0E9CF}"/>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110062219"/>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ntacts">
    <p:bg>
      <p:bgPr>
        <a:solidFill>
          <a:schemeClr val="accent1"/>
        </a:solidFill>
        <a:effectLst/>
      </p:bgPr>
    </p:bg>
    <p:spTree>
      <p:nvGrpSpPr>
        <p:cNvPr id="1" name=""/>
        <p:cNvGrpSpPr/>
        <p:nvPr/>
      </p:nvGrpSpPr>
      <p:grpSpPr>
        <a:xfrm>
          <a:off x="0" y="0"/>
          <a:ext cx="0" cy="0"/>
          <a:chOff x="0" y="0"/>
          <a:chExt cx="0" cy="0"/>
        </a:xfrm>
      </p:grpSpPr>
      <p:sp>
        <p:nvSpPr>
          <p:cNvPr id="5" name="Grafik 3">
            <a:extLst>
              <a:ext uri="{FF2B5EF4-FFF2-40B4-BE49-F238E27FC236}">
                <a16:creationId xmlns:a16="http://schemas.microsoft.com/office/drawing/2014/main" id="{AC6CE3B9-A1F4-AEFA-B347-F7EBDC4FFF6F}"/>
              </a:ext>
            </a:extLst>
          </p:cNvPr>
          <p:cNvSpPr/>
          <p:nvPr/>
        </p:nvSpPr>
        <p:spPr bwMode="gray">
          <a:xfrm>
            <a:off x="0" y="0"/>
            <a:ext cx="10245444" cy="6857999"/>
          </a:xfrm>
          <a:custGeom>
            <a:avLst/>
            <a:gdLst>
              <a:gd name="connsiteX0" fmla="*/ 3139398 w 10245444"/>
              <a:gd name="connsiteY0" fmla="*/ 6835395 h 6857999"/>
              <a:gd name="connsiteX1" fmla="*/ 3216637 w 10245444"/>
              <a:gd name="connsiteY1" fmla="*/ 6822567 h 6857999"/>
              <a:gd name="connsiteX2" fmla="*/ 3293877 w 10245444"/>
              <a:gd name="connsiteY2" fmla="*/ 6809740 h 6857999"/>
              <a:gd name="connsiteX3" fmla="*/ 3371117 w 10245444"/>
              <a:gd name="connsiteY3" fmla="*/ 6796913 h 6857999"/>
              <a:gd name="connsiteX4" fmla="*/ 3448357 w 10245444"/>
              <a:gd name="connsiteY4" fmla="*/ 6784086 h 6857999"/>
              <a:gd name="connsiteX5" fmla="*/ 3525597 w 10245444"/>
              <a:gd name="connsiteY5" fmla="*/ 6771259 h 6857999"/>
              <a:gd name="connsiteX6" fmla="*/ 3602837 w 10245444"/>
              <a:gd name="connsiteY6" fmla="*/ 6758433 h 6857999"/>
              <a:gd name="connsiteX7" fmla="*/ 3680077 w 10245444"/>
              <a:gd name="connsiteY7" fmla="*/ 6745605 h 6857999"/>
              <a:gd name="connsiteX8" fmla="*/ 3757317 w 10245444"/>
              <a:gd name="connsiteY8" fmla="*/ 6732778 h 6857999"/>
              <a:gd name="connsiteX9" fmla="*/ 3834557 w 10245444"/>
              <a:gd name="connsiteY9" fmla="*/ 6719951 h 6857999"/>
              <a:gd name="connsiteX10" fmla="*/ 3911797 w 10245444"/>
              <a:gd name="connsiteY10" fmla="*/ 6707124 h 6857999"/>
              <a:gd name="connsiteX11" fmla="*/ 3989037 w 10245444"/>
              <a:gd name="connsiteY11" fmla="*/ 6694297 h 6857999"/>
              <a:gd name="connsiteX12" fmla="*/ 4066277 w 10245444"/>
              <a:gd name="connsiteY12" fmla="*/ 6681470 h 6857999"/>
              <a:gd name="connsiteX13" fmla="*/ 4143517 w 10245444"/>
              <a:gd name="connsiteY13" fmla="*/ 6668644 h 6857999"/>
              <a:gd name="connsiteX14" fmla="*/ 4220757 w 10245444"/>
              <a:gd name="connsiteY14" fmla="*/ 6655816 h 6857999"/>
              <a:gd name="connsiteX15" fmla="*/ 4297997 w 10245444"/>
              <a:gd name="connsiteY15" fmla="*/ 6642989 h 6857999"/>
              <a:gd name="connsiteX16" fmla="*/ 4375237 w 10245444"/>
              <a:gd name="connsiteY16" fmla="*/ 6630162 h 6857999"/>
              <a:gd name="connsiteX17" fmla="*/ 4452477 w 10245444"/>
              <a:gd name="connsiteY17" fmla="*/ 6617335 h 6857999"/>
              <a:gd name="connsiteX18" fmla="*/ 4529717 w 10245444"/>
              <a:gd name="connsiteY18" fmla="*/ 6604508 h 6857999"/>
              <a:gd name="connsiteX19" fmla="*/ 4606957 w 10245444"/>
              <a:gd name="connsiteY19" fmla="*/ 6591682 h 6857999"/>
              <a:gd name="connsiteX20" fmla="*/ 4684197 w 10245444"/>
              <a:gd name="connsiteY20" fmla="*/ 6578854 h 6857999"/>
              <a:gd name="connsiteX21" fmla="*/ 4761437 w 10245444"/>
              <a:gd name="connsiteY21" fmla="*/ 6566027 h 6857999"/>
              <a:gd name="connsiteX22" fmla="*/ 4838677 w 10245444"/>
              <a:gd name="connsiteY22" fmla="*/ 6553200 h 6857999"/>
              <a:gd name="connsiteX23" fmla="*/ 4915916 w 10245444"/>
              <a:gd name="connsiteY23" fmla="*/ 6540373 h 6857999"/>
              <a:gd name="connsiteX24" fmla="*/ 4993157 w 10245444"/>
              <a:gd name="connsiteY24" fmla="*/ 6527546 h 6857999"/>
              <a:gd name="connsiteX25" fmla="*/ 5070396 w 10245444"/>
              <a:gd name="connsiteY25" fmla="*/ 6514720 h 6857999"/>
              <a:gd name="connsiteX26" fmla="*/ 5147637 w 10245444"/>
              <a:gd name="connsiteY26" fmla="*/ 6501892 h 6857999"/>
              <a:gd name="connsiteX27" fmla="*/ 5224876 w 10245444"/>
              <a:gd name="connsiteY27" fmla="*/ 6489065 h 6857999"/>
              <a:gd name="connsiteX28" fmla="*/ 5302116 w 10245444"/>
              <a:gd name="connsiteY28" fmla="*/ 6476238 h 6857999"/>
              <a:gd name="connsiteX29" fmla="*/ 5379356 w 10245444"/>
              <a:gd name="connsiteY29" fmla="*/ 6463411 h 6857999"/>
              <a:gd name="connsiteX30" fmla="*/ 5456596 w 10245444"/>
              <a:gd name="connsiteY30" fmla="*/ 6450584 h 6857999"/>
              <a:gd name="connsiteX31" fmla="*/ 5533836 w 10245444"/>
              <a:gd name="connsiteY31" fmla="*/ 6437757 h 6857999"/>
              <a:gd name="connsiteX32" fmla="*/ 5611076 w 10245444"/>
              <a:gd name="connsiteY32" fmla="*/ 6424930 h 6857999"/>
              <a:gd name="connsiteX33" fmla="*/ 5688316 w 10245444"/>
              <a:gd name="connsiteY33" fmla="*/ 6412103 h 6857999"/>
              <a:gd name="connsiteX34" fmla="*/ 5765556 w 10245444"/>
              <a:gd name="connsiteY34" fmla="*/ 6399276 h 6857999"/>
              <a:gd name="connsiteX35" fmla="*/ 5842796 w 10245444"/>
              <a:gd name="connsiteY35" fmla="*/ 6386449 h 6857999"/>
              <a:gd name="connsiteX36" fmla="*/ 5920036 w 10245444"/>
              <a:gd name="connsiteY36" fmla="*/ 6373622 h 6857999"/>
              <a:gd name="connsiteX37" fmla="*/ 5997276 w 10245444"/>
              <a:gd name="connsiteY37" fmla="*/ 6360795 h 6857999"/>
              <a:gd name="connsiteX38" fmla="*/ 6074516 w 10245444"/>
              <a:gd name="connsiteY38" fmla="*/ 6347968 h 6857999"/>
              <a:gd name="connsiteX39" fmla="*/ 6151756 w 10245444"/>
              <a:gd name="connsiteY39" fmla="*/ 6335141 h 6857999"/>
              <a:gd name="connsiteX40" fmla="*/ 6228996 w 10245444"/>
              <a:gd name="connsiteY40" fmla="*/ 6322314 h 6857999"/>
              <a:gd name="connsiteX41" fmla="*/ 6306363 w 10245444"/>
              <a:gd name="connsiteY41" fmla="*/ 6309487 h 6857999"/>
              <a:gd name="connsiteX42" fmla="*/ 6383603 w 10245444"/>
              <a:gd name="connsiteY42" fmla="*/ 6296660 h 6857999"/>
              <a:gd name="connsiteX43" fmla="*/ 6460843 w 10245444"/>
              <a:gd name="connsiteY43" fmla="*/ 6283833 h 6857999"/>
              <a:gd name="connsiteX44" fmla="*/ 6538083 w 10245444"/>
              <a:gd name="connsiteY44" fmla="*/ 6271006 h 6857999"/>
              <a:gd name="connsiteX45" fmla="*/ 6615322 w 10245444"/>
              <a:gd name="connsiteY45" fmla="*/ 6258179 h 6857999"/>
              <a:gd name="connsiteX46" fmla="*/ 6692562 w 10245444"/>
              <a:gd name="connsiteY46" fmla="*/ 6245352 h 6857999"/>
              <a:gd name="connsiteX47" fmla="*/ 6769803 w 10245444"/>
              <a:gd name="connsiteY47" fmla="*/ 6232525 h 6857999"/>
              <a:gd name="connsiteX48" fmla="*/ 6847042 w 10245444"/>
              <a:gd name="connsiteY48" fmla="*/ 6219698 h 6857999"/>
              <a:gd name="connsiteX49" fmla="*/ 6924282 w 10245444"/>
              <a:gd name="connsiteY49" fmla="*/ 6206871 h 6857999"/>
              <a:gd name="connsiteX50" fmla="*/ 7001522 w 10245444"/>
              <a:gd name="connsiteY50" fmla="*/ 6194044 h 6857999"/>
              <a:gd name="connsiteX51" fmla="*/ 7078762 w 10245444"/>
              <a:gd name="connsiteY51" fmla="*/ 6181217 h 6857999"/>
              <a:gd name="connsiteX52" fmla="*/ 7156002 w 10245444"/>
              <a:gd name="connsiteY52" fmla="*/ 6168390 h 6857999"/>
              <a:gd name="connsiteX53" fmla="*/ 7233242 w 10245444"/>
              <a:gd name="connsiteY53" fmla="*/ 6155563 h 6857999"/>
              <a:gd name="connsiteX54" fmla="*/ 7310482 w 10245444"/>
              <a:gd name="connsiteY54" fmla="*/ 6142736 h 6857999"/>
              <a:gd name="connsiteX55" fmla="*/ 7387722 w 10245444"/>
              <a:gd name="connsiteY55" fmla="*/ 6129909 h 6857999"/>
              <a:gd name="connsiteX56" fmla="*/ 7465089 w 10245444"/>
              <a:gd name="connsiteY56" fmla="*/ 6117082 h 6857999"/>
              <a:gd name="connsiteX57" fmla="*/ 7542329 w 10245444"/>
              <a:gd name="connsiteY57" fmla="*/ 6104255 h 6857999"/>
              <a:gd name="connsiteX58" fmla="*/ 7619569 w 10245444"/>
              <a:gd name="connsiteY58" fmla="*/ 6091428 h 6857999"/>
              <a:gd name="connsiteX59" fmla="*/ 7696809 w 10245444"/>
              <a:gd name="connsiteY59" fmla="*/ 6078601 h 6857999"/>
              <a:gd name="connsiteX60" fmla="*/ 7774049 w 10245444"/>
              <a:gd name="connsiteY60" fmla="*/ 6065774 h 6857999"/>
              <a:gd name="connsiteX61" fmla="*/ 7851289 w 10245444"/>
              <a:gd name="connsiteY61" fmla="*/ 6052947 h 6857999"/>
              <a:gd name="connsiteX62" fmla="*/ 8446468 w 10245444"/>
              <a:gd name="connsiteY62" fmla="*/ 5594223 h 6857999"/>
              <a:gd name="connsiteX63" fmla="*/ 10196563 w 10245444"/>
              <a:gd name="connsiteY63" fmla="*/ 1065911 h 6857999"/>
              <a:gd name="connsiteX64" fmla="*/ 9781906 w 10245444"/>
              <a:gd name="connsiteY64" fmla="*/ 129413 h 6857999"/>
              <a:gd name="connsiteX65" fmla="*/ 9446903 w 10245444"/>
              <a:gd name="connsiteY65" fmla="*/ 0 h 6857999"/>
              <a:gd name="connsiteX66" fmla="*/ 0 w 10245444"/>
              <a:gd name="connsiteY66" fmla="*/ 0 h 6857999"/>
              <a:gd name="connsiteX67" fmla="*/ 0 w 10245444"/>
              <a:gd name="connsiteY67" fmla="*/ 6858000 h 6857999"/>
              <a:gd name="connsiteX68" fmla="*/ 3018456 w 10245444"/>
              <a:gd name="connsiteY68" fmla="*/ 6858000 h 6857999"/>
              <a:gd name="connsiteX69" fmla="*/ 3062158 w 10245444"/>
              <a:gd name="connsiteY69" fmla="*/ 6849745 h 6857999"/>
              <a:gd name="connsiteX70" fmla="*/ 3139398 w 10245444"/>
              <a:gd name="connsiteY70" fmla="*/ 683691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0245444" h="6857999">
                <a:moveTo>
                  <a:pt x="3139398" y="6835395"/>
                </a:moveTo>
                <a:cubicBezTo>
                  <a:pt x="3165441" y="6832473"/>
                  <a:pt x="3191230" y="6828283"/>
                  <a:pt x="3216637" y="6822567"/>
                </a:cubicBezTo>
                <a:cubicBezTo>
                  <a:pt x="3242681" y="6819646"/>
                  <a:pt x="3268470" y="6815455"/>
                  <a:pt x="3293877" y="6809740"/>
                </a:cubicBezTo>
                <a:cubicBezTo>
                  <a:pt x="3319920" y="6806820"/>
                  <a:pt x="3345709" y="6802628"/>
                  <a:pt x="3371117" y="6796913"/>
                </a:cubicBezTo>
                <a:cubicBezTo>
                  <a:pt x="3397161" y="6793992"/>
                  <a:pt x="3422950" y="6789801"/>
                  <a:pt x="3448357" y="6784086"/>
                </a:cubicBezTo>
                <a:cubicBezTo>
                  <a:pt x="3474400" y="6781165"/>
                  <a:pt x="3500189" y="6776974"/>
                  <a:pt x="3525597" y="6771259"/>
                </a:cubicBezTo>
                <a:cubicBezTo>
                  <a:pt x="3551641" y="6768338"/>
                  <a:pt x="3577429" y="6764147"/>
                  <a:pt x="3602837" y="6758433"/>
                </a:cubicBezTo>
                <a:cubicBezTo>
                  <a:pt x="3628880" y="6755511"/>
                  <a:pt x="3654669" y="6751320"/>
                  <a:pt x="3680077" y="6745605"/>
                </a:cubicBezTo>
                <a:cubicBezTo>
                  <a:pt x="3706120" y="6742684"/>
                  <a:pt x="3731909" y="6738494"/>
                  <a:pt x="3757317" y="6732778"/>
                </a:cubicBezTo>
                <a:cubicBezTo>
                  <a:pt x="3783360" y="6729858"/>
                  <a:pt x="3809149" y="6725666"/>
                  <a:pt x="3834557" y="6719951"/>
                </a:cubicBezTo>
                <a:cubicBezTo>
                  <a:pt x="3860600" y="6717030"/>
                  <a:pt x="3886389" y="6712839"/>
                  <a:pt x="3911797" y="6707124"/>
                </a:cubicBezTo>
                <a:cubicBezTo>
                  <a:pt x="3937840" y="6704203"/>
                  <a:pt x="3963629" y="6700012"/>
                  <a:pt x="3989037" y="6694297"/>
                </a:cubicBezTo>
                <a:cubicBezTo>
                  <a:pt x="4015080" y="6691376"/>
                  <a:pt x="4040869" y="6687185"/>
                  <a:pt x="4066277" y="6681470"/>
                </a:cubicBezTo>
                <a:cubicBezTo>
                  <a:pt x="4092320" y="6678549"/>
                  <a:pt x="4118109" y="6674358"/>
                  <a:pt x="4143517" y="6668644"/>
                </a:cubicBezTo>
                <a:cubicBezTo>
                  <a:pt x="4169560" y="6665722"/>
                  <a:pt x="4195349" y="6661532"/>
                  <a:pt x="4220757" y="6655816"/>
                </a:cubicBezTo>
                <a:cubicBezTo>
                  <a:pt x="4246800" y="6652895"/>
                  <a:pt x="4272589" y="6648704"/>
                  <a:pt x="4297997" y="6642989"/>
                </a:cubicBezTo>
                <a:cubicBezTo>
                  <a:pt x="4324040" y="6640069"/>
                  <a:pt x="4349829" y="6635877"/>
                  <a:pt x="4375237" y="6630162"/>
                </a:cubicBezTo>
                <a:cubicBezTo>
                  <a:pt x="4401280" y="6627241"/>
                  <a:pt x="4427069" y="6623050"/>
                  <a:pt x="4452477" y="6617335"/>
                </a:cubicBezTo>
                <a:cubicBezTo>
                  <a:pt x="4478520" y="6614414"/>
                  <a:pt x="4504309" y="6610223"/>
                  <a:pt x="4529717" y="6604508"/>
                </a:cubicBezTo>
                <a:cubicBezTo>
                  <a:pt x="4555760" y="6601587"/>
                  <a:pt x="4581549" y="6597396"/>
                  <a:pt x="4606957" y="6591682"/>
                </a:cubicBezTo>
                <a:cubicBezTo>
                  <a:pt x="4633000" y="6588760"/>
                  <a:pt x="4658789" y="6584570"/>
                  <a:pt x="4684197" y="6578854"/>
                </a:cubicBezTo>
                <a:cubicBezTo>
                  <a:pt x="4710240" y="6575933"/>
                  <a:pt x="4736029" y="6571742"/>
                  <a:pt x="4761437" y="6566027"/>
                </a:cubicBezTo>
                <a:cubicBezTo>
                  <a:pt x="4787480" y="6563107"/>
                  <a:pt x="4813269" y="6558915"/>
                  <a:pt x="4838677" y="6553200"/>
                </a:cubicBezTo>
                <a:cubicBezTo>
                  <a:pt x="4864720" y="6550279"/>
                  <a:pt x="4890509" y="6546088"/>
                  <a:pt x="4915916" y="6540373"/>
                </a:cubicBezTo>
                <a:cubicBezTo>
                  <a:pt x="4941960" y="6537452"/>
                  <a:pt x="4967749" y="6533261"/>
                  <a:pt x="4993157" y="6527546"/>
                </a:cubicBezTo>
                <a:cubicBezTo>
                  <a:pt x="5019200" y="6524625"/>
                  <a:pt x="5044989" y="6520434"/>
                  <a:pt x="5070396" y="6514720"/>
                </a:cubicBezTo>
                <a:cubicBezTo>
                  <a:pt x="5096440" y="6511798"/>
                  <a:pt x="5122229" y="6507608"/>
                  <a:pt x="5147637" y="6501892"/>
                </a:cubicBezTo>
                <a:cubicBezTo>
                  <a:pt x="5173679" y="6498971"/>
                  <a:pt x="5199468" y="6494780"/>
                  <a:pt x="5224876" y="6489065"/>
                </a:cubicBezTo>
                <a:cubicBezTo>
                  <a:pt x="5250919" y="6486144"/>
                  <a:pt x="5276708" y="6481953"/>
                  <a:pt x="5302116" y="6476238"/>
                </a:cubicBezTo>
                <a:cubicBezTo>
                  <a:pt x="5328159" y="6473317"/>
                  <a:pt x="5353948" y="6469126"/>
                  <a:pt x="5379356" y="6463411"/>
                </a:cubicBezTo>
                <a:cubicBezTo>
                  <a:pt x="5405399" y="6460490"/>
                  <a:pt x="5431188" y="6456299"/>
                  <a:pt x="5456596" y="6450584"/>
                </a:cubicBezTo>
                <a:cubicBezTo>
                  <a:pt x="5482639" y="6447663"/>
                  <a:pt x="5508428" y="6443472"/>
                  <a:pt x="5533836" y="6437757"/>
                </a:cubicBezTo>
                <a:cubicBezTo>
                  <a:pt x="5559879" y="6434836"/>
                  <a:pt x="5585668" y="6430645"/>
                  <a:pt x="5611076" y="6424930"/>
                </a:cubicBezTo>
                <a:cubicBezTo>
                  <a:pt x="5637119" y="6422009"/>
                  <a:pt x="5662908" y="6417818"/>
                  <a:pt x="5688316" y="6412103"/>
                </a:cubicBezTo>
                <a:cubicBezTo>
                  <a:pt x="5714359" y="6409182"/>
                  <a:pt x="5740148" y="6404991"/>
                  <a:pt x="5765556" y="6399276"/>
                </a:cubicBezTo>
                <a:cubicBezTo>
                  <a:pt x="5791599" y="6396355"/>
                  <a:pt x="5817388" y="6392164"/>
                  <a:pt x="5842796" y="6386449"/>
                </a:cubicBezTo>
                <a:cubicBezTo>
                  <a:pt x="5868839" y="6383528"/>
                  <a:pt x="5894628" y="6379337"/>
                  <a:pt x="5920036" y="6373622"/>
                </a:cubicBezTo>
                <a:cubicBezTo>
                  <a:pt x="5946079" y="6370701"/>
                  <a:pt x="5971868" y="6366510"/>
                  <a:pt x="5997276" y="6360795"/>
                </a:cubicBezTo>
                <a:cubicBezTo>
                  <a:pt x="6023319" y="6357874"/>
                  <a:pt x="6049108" y="6353683"/>
                  <a:pt x="6074516" y="6347968"/>
                </a:cubicBezTo>
                <a:cubicBezTo>
                  <a:pt x="6100559" y="6345047"/>
                  <a:pt x="6126348" y="6340856"/>
                  <a:pt x="6151756" y="6335141"/>
                </a:cubicBezTo>
                <a:cubicBezTo>
                  <a:pt x="6177799" y="6332220"/>
                  <a:pt x="6203588" y="6328029"/>
                  <a:pt x="6228996" y="6322314"/>
                </a:cubicBezTo>
                <a:cubicBezTo>
                  <a:pt x="6255039" y="6319393"/>
                  <a:pt x="6280828" y="6315202"/>
                  <a:pt x="6306363" y="6309487"/>
                </a:cubicBezTo>
                <a:cubicBezTo>
                  <a:pt x="6332406" y="6306566"/>
                  <a:pt x="6358195" y="6302375"/>
                  <a:pt x="6383603" y="6296660"/>
                </a:cubicBezTo>
                <a:cubicBezTo>
                  <a:pt x="6409646" y="6293739"/>
                  <a:pt x="6435435" y="6289548"/>
                  <a:pt x="6460843" y="6283833"/>
                </a:cubicBezTo>
                <a:cubicBezTo>
                  <a:pt x="6486886" y="6280912"/>
                  <a:pt x="6512675" y="6276721"/>
                  <a:pt x="6538083" y="6271006"/>
                </a:cubicBezTo>
                <a:cubicBezTo>
                  <a:pt x="6564126" y="6268085"/>
                  <a:pt x="6589914" y="6263894"/>
                  <a:pt x="6615322" y="6258179"/>
                </a:cubicBezTo>
                <a:cubicBezTo>
                  <a:pt x="6641366" y="6255258"/>
                  <a:pt x="6667155" y="6251067"/>
                  <a:pt x="6692562" y="6245352"/>
                </a:cubicBezTo>
                <a:cubicBezTo>
                  <a:pt x="6718605" y="6242431"/>
                  <a:pt x="6744395" y="6238240"/>
                  <a:pt x="6769803" y="6232525"/>
                </a:cubicBezTo>
                <a:cubicBezTo>
                  <a:pt x="6795846" y="6229604"/>
                  <a:pt x="6821634" y="6225413"/>
                  <a:pt x="6847042" y="6219698"/>
                </a:cubicBezTo>
                <a:cubicBezTo>
                  <a:pt x="6873086" y="6216777"/>
                  <a:pt x="6898874" y="6212586"/>
                  <a:pt x="6924282" y="6206871"/>
                </a:cubicBezTo>
                <a:cubicBezTo>
                  <a:pt x="6950325" y="6203950"/>
                  <a:pt x="6976114" y="6199759"/>
                  <a:pt x="7001522" y="6194044"/>
                </a:cubicBezTo>
                <a:cubicBezTo>
                  <a:pt x="7027565" y="6191123"/>
                  <a:pt x="7053355" y="6186932"/>
                  <a:pt x="7078762" y="6181217"/>
                </a:cubicBezTo>
                <a:cubicBezTo>
                  <a:pt x="7104805" y="6178296"/>
                  <a:pt x="7130594" y="6174105"/>
                  <a:pt x="7156002" y="6168390"/>
                </a:cubicBezTo>
                <a:cubicBezTo>
                  <a:pt x="7182046" y="6165469"/>
                  <a:pt x="7207834" y="6161278"/>
                  <a:pt x="7233242" y="6155563"/>
                </a:cubicBezTo>
                <a:cubicBezTo>
                  <a:pt x="7259285" y="6152642"/>
                  <a:pt x="7285074" y="6148451"/>
                  <a:pt x="7310482" y="6142736"/>
                </a:cubicBezTo>
                <a:cubicBezTo>
                  <a:pt x="7336525" y="6139815"/>
                  <a:pt x="7362315" y="6135624"/>
                  <a:pt x="7387722" y="6129909"/>
                </a:cubicBezTo>
                <a:cubicBezTo>
                  <a:pt x="7413765" y="6126988"/>
                  <a:pt x="7439554" y="6122797"/>
                  <a:pt x="7465089" y="6117082"/>
                </a:cubicBezTo>
                <a:cubicBezTo>
                  <a:pt x="7491132" y="6114161"/>
                  <a:pt x="7516921" y="6109970"/>
                  <a:pt x="7542329" y="6104255"/>
                </a:cubicBezTo>
                <a:cubicBezTo>
                  <a:pt x="7568372" y="6101334"/>
                  <a:pt x="7594161" y="6097143"/>
                  <a:pt x="7619569" y="6091428"/>
                </a:cubicBezTo>
                <a:cubicBezTo>
                  <a:pt x="7645612" y="6088507"/>
                  <a:pt x="7671401" y="6084316"/>
                  <a:pt x="7696809" y="6078601"/>
                </a:cubicBezTo>
                <a:cubicBezTo>
                  <a:pt x="7722852" y="6075680"/>
                  <a:pt x="7748641" y="6071489"/>
                  <a:pt x="7774049" y="6065774"/>
                </a:cubicBezTo>
                <a:cubicBezTo>
                  <a:pt x="7800092" y="6062853"/>
                  <a:pt x="7825881" y="6058662"/>
                  <a:pt x="7851289" y="6052947"/>
                </a:cubicBezTo>
                <a:cubicBezTo>
                  <a:pt x="8110958" y="6023737"/>
                  <a:pt x="8345853" y="5854827"/>
                  <a:pt x="8446468" y="5594223"/>
                </a:cubicBezTo>
                <a:lnTo>
                  <a:pt x="10196563" y="1065911"/>
                </a:lnTo>
                <a:cubicBezTo>
                  <a:pt x="10340752" y="692785"/>
                  <a:pt x="10155148" y="273558"/>
                  <a:pt x="9781906" y="129413"/>
                </a:cubicBezTo>
                <a:lnTo>
                  <a:pt x="9446903" y="0"/>
                </a:lnTo>
                <a:lnTo>
                  <a:pt x="0" y="0"/>
                </a:lnTo>
                <a:lnTo>
                  <a:pt x="0" y="6858000"/>
                </a:lnTo>
                <a:lnTo>
                  <a:pt x="3018456" y="6858000"/>
                </a:lnTo>
                <a:cubicBezTo>
                  <a:pt x="3033193" y="6855714"/>
                  <a:pt x="3047802" y="6853047"/>
                  <a:pt x="3062158" y="6849745"/>
                </a:cubicBezTo>
                <a:cubicBezTo>
                  <a:pt x="3088201" y="6846824"/>
                  <a:pt x="3113990" y="6842633"/>
                  <a:pt x="3139398" y="6836919"/>
                </a:cubicBezTo>
                <a:close/>
              </a:path>
            </a:pathLst>
          </a:custGeom>
          <a:solidFill>
            <a:srgbClr val="FFFFFF"/>
          </a:solidFill>
          <a:ln w="0" cap="flat">
            <a:noFill/>
            <a:prstDash val="solid"/>
            <a:miter/>
          </a:ln>
        </p:spPr>
        <p:txBody>
          <a:bodyPr rtlCol="0" anchor="ctr"/>
          <a:lstStyle/>
          <a:p>
            <a:endParaRPr lang="de-DE"/>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7416068"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732"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732"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8" name="Textplatzhalter 8">
            <a:extLst>
              <a:ext uri="{FF2B5EF4-FFF2-40B4-BE49-F238E27FC236}">
                <a16:creationId xmlns:a16="http://schemas.microsoft.com/office/drawing/2014/main" id="{73D105F2-3438-7FDA-38A0-8E0E227818B2}"/>
              </a:ext>
            </a:extLst>
          </p:cNvPr>
          <p:cNvSpPr>
            <a:spLocks noGrp="1"/>
          </p:cNvSpPr>
          <p:nvPr>
            <p:ph type="body" sz="quarter" idx="16" hasCustomPrompt="1"/>
          </p:nvPr>
        </p:nvSpPr>
        <p:spPr bwMode="gray">
          <a:xfrm>
            <a:off x="6276020"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9" name="Bildplatzhalter 5">
            <a:extLst>
              <a:ext uri="{FF2B5EF4-FFF2-40B4-BE49-F238E27FC236}">
                <a16:creationId xmlns:a16="http://schemas.microsoft.com/office/drawing/2014/main" id="{D33C9946-3EE2-126A-1E35-CCCA843F9A46}"/>
              </a:ext>
            </a:extLst>
          </p:cNvPr>
          <p:cNvSpPr>
            <a:spLocks noGrp="1"/>
          </p:cNvSpPr>
          <p:nvPr>
            <p:ph type="pic" sz="quarter" idx="17" hasCustomPrompt="1"/>
          </p:nvPr>
        </p:nvSpPr>
        <p:spPr bwMode="gray">
          <a:xfrm>
            <a:off x="6276020"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2" name="Titel 1">
            <a:extLst>
              <a:ext uri="{FF2B5EF4-FFF2-40B4-BE49-F238E27FC236}">
                <a16:creationId xmlns:a16="http://schemas.microsoft.com/office/drawing/2014/main" id="{F70B763A-4773-4641-8149-1462F08B3E1F}"/>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4404DA2A-5E38-2640-942F-17B9D33EC74F}"/>
              </a:ext>
            </a:extLst>
          </p:cNvPr>
          <p:cNvGrpSpPr>
            <a:grpSpLocks noChangeAspect="1"/>
          </p:cNvGrpSpPr>
          <p:nvPr userDrawn="1"/>
        </p:nvGrpSpPr>
        <p:grpSpPr bwMode="auto">
          <a:xfrm>
            <a:off x="9551988" y="5553075"/>
            <a:ext cx="1879600" cy="323850"/>
            <a:chOff x="6017" y="3498"/>
            <a:chExt cx="1184" cy="204"/>
          </a:xfrm>
        </p:grpSpPr>
        <p:sp>
          <p:nvSpPr>
            <p:cNvPr id="10" name="AutoShape 3">
              <a:extLst>
                <a:ext uri="{FF2B5EF4-FFF2-40B4-BE49-F238E27FC236}">
                  <a16:creationId xmlns:a16="http://schemas.microsoft.com/office/drawing/2014/main" id="{6D2871A6-2071-98A2-CA01-3C1ADFDB2CDB}"/>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5">
              <a:extLst>
                <a:ext uri="{FF2B5EF4-FFF2-40B4-BE49-F238E27FC236}">
                  <a16:creationId xmlns:a16="http://schemas.microsoft.com/office/drawing/2014/main" id="{154AED2A-375D-6BE0-C340-C234FB3B5D3C}"/>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6">
              <a:extLst>
                <a:ext uri="{FF2B5EF4-FFF2-40B4-BE49-F238E27FC236}">
                  <a16:creationId xmlns:a16="http://schemas.microsoft.com/office/drawing/2014/main" id="{81E8669E-A2DF-8CB0-35FD-21E78E80036F}"/>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7">
              <a:extLst>
                <a:ext uri="{FF2B5EF4-FFF2-40B4-BE49-F238E27FC236}">
                  <a16:creationId xmlns:a16="http://schemas.microsoft.com/office/drawing/2014/main" id="{CDF83B1F-65D9-2200-A350-610C1C7CB5F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8">
              <a:extLst>
                <a:ext uri="{FF2B5EF4-FFF2-40B4-BE49-F238E27FC236}">
                  <a16:creationId xmlns:a16="http://schemas.microsoft.com/office/drawing/2014/main" id="{F7141A6C-DCF3-C57B-116D-68C0ABA30DB7}"/>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9">
              <a:extLst>
                <a:ext uri="{FF2B5EF4-FFF2-40B4-BE49-F238E27FC236}">
                  <a16:creationId xmlns:a16="http://schemas.microsoft.com/office/drawing/2014/main" id="{C423C765-28C8-F940-6517-E011E8D84402}"/>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0">
              <a:extLst>
                <a:ext uri="{FF2B5EF4-FFF2-40B4-BE49-F238E27FC236}">
                  <a16:creationId xmlns:a16="http://schemas.microsoft.com/office/drawing/2014/main" id="{E49A0EBE-4FF5-6659-525C-55E33A8D519C}"/>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1">
              <a:extLst>
                <a:ext uri="{FF2B5EF4-FFF2-40B4-BE49-F238E27FC236}">
                  <a16:creationId xmlns:a16="http://schemas.microsoft.com/office/drawing/2014/main" id="{103075C6-D10C-20A6-DF0E-6CD2A151B2C2}"/>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Rectangle 12">
              <a:extLst>
                <a:ext uri="{FF2B5EF4-FFF2-40B4-BE49-F238E27FC236}">
                  <a16:creationId xmlns:a16="http://schemas.microsoft.com/office/drawing/2014/main" id="{6986018B-6696-9BC6-E2BE-B346EF3FDF37}"/>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3">
              <a:extLst>
                <a:ext uri="{FF2B5EF4-FFF2-40B4-BE49-F238E27FC236}">
                  <a16:creationId xmlns:a16="http://schemas.microsoft.com/office/drawing/2014/main" id="{EDE07DAD-D2D4-50A7-A3F4-78122D08F38D}"/>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4">
              <a:extLst>
                <a:ext uri="{FF2B5EF4-FFF2-40B4-BE49-F238E27FC236}">
                  <a16:creationId xmlns:a16="http://schemas.microsoft.com/office/drawing/2014/main" id="{8FBE14B7-E2A2-01DC-53D0-F0B2A87F6A4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15">
              <a:extLst>
                <a:ext uri="{FF2B5EF4-FFF2-40B4-BE49-F238E27FC236}">
                  <a16:creationId xmlns:a16="http://schemas.microsoft.com/office/drawing/2014/main" id="{31E4AF5E-C02B-D224-410B-530DDDD312DD}"/>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6">
              <a:extLst>
                <a:ext uri="{FF2B5EF4-FFF2-40B4-BE49-F238E27FC236}">
                  <a16:creationId xmlns:a16="http://schemas.microsoft.com/office/drawing/2014/main" id="{1C290BD1-0C5A-C4EC-C2B9-9101E50D1570}"/>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17">
              <a:extLst>
                <a:ext uri="{FF2B5EF4-FFF2-40B4-BE49-F238E27FC236}">
                  <a16:creationId xmlns:a16="http://schemas.microsoft.com/office/drawing/2014/main" id="{3C164615-0BD9-5E41-C867-B9860A808290}"/>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Oval 18">
              <a:extLst>
                <a:ext uri="{FF2B5EF4-FFF2-40B4-BE49-F238E27FC236}">
                  <a16:creationId xmlns:a16="http://schemas.microsoft.com/office/drawing/2014/main" id="{531DFF93-32C1-57EA-DFCB-D49611200139}"/>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31" name="Group 21">
            <a:extLst>
              <a:ext uri="{FF2B5EF4-FFF2-40B4-BE49-F238E27FC236}">
                <a16:creationId xmlns:a16="http://schemas.microsoft.com/office/drawing/2014/main" id="{4D31F8FC-2752-4C8E-7E0A-2370CDD35317}"/>
              </a:ext>
            </a:extLst>
          </p:cNvPr>
          <p:cNvGrpSpPr>
            <a:grpSpLocks noChangeAspect="1"/>
          </p:cNvGrpSpPr>
          <p:nvPr userDrawn="1"/>
        </p:nvGrpSpPr>
        <p:grpSpPr bwMode="auto">
          <a:xfrm>
            <a:off x="9551988" y="4535488"/>
            <a:ext cx="2052637" cy="333375"/>
            <a:chOff x="6017" y="2857"/>
            <a:chExt cx="1293" cy="210"/>
          </a:xfrm>
        </p:grpSpPr>
        <p:sp>
          <p:nvSpPr>
            <p:cNvPr id="32" name="AutoShape 20">
              <a:extLst>
                <a:ext uri="{FF2B5EF4-FFF2-40B4-BE49-F238E27FC236}">
                  <a16:creationId xmlns:a16="http://schemas.microsoft.com/office/drawing/2014/main" id="{08F086AE-3B14-6903-2A2B-56D3C1B6471B}"/>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2">
              <a:extLst>
                <a:ext uri="{FF2B5EF4-FFF2-40B4-BE49-F238E27FC236}">
                  <a16:creationId xmlns:a16="http://schemas.microsoft.com/office/drawing/2014/main" id="{A9EAEC09-9F9C-F6B1-9AFD-507026363EB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3">
              <a:extLst>
                <a:ext uri="{FF2B5EF4-FFF2-40B4-BE49-F238E27FC236}">
                  <a16:creationId xmlns:a16="http://schemas.microsoft.com/office/drawing/2014/main" id="{FD861F4E-14BC-F1DE-0BE3-1FC98D78ACA4}"/>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4">
              <a:extLst>
                <a:ext uri="{FF2B5EF4-FFF2-40B4-BE49-F238E27FC236}">
                  <a16:creationId xmlns:a16="http://schemas.microsoft.com/office/drawing/2014/main" id="{8DB85D55-0E86-B1A2-3A78-2BE5610C29BB}"/>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5">
              <a:extLst>
                <a:ext uri="{FF2B5EF4-FFF2-40B4-BE49-F238E27FC236}">
                  <a16:creationId xmlns:a16="http://schemas.microsoft.com/office/drawing/2014/main" id="{5187C988-07D6-4327-3E07-7CE5448AAC91}"/>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6">
              <a:extLst>
                <a:ext uri="{FF2B5EF4-FFF2-40B4-BE49-F238E27FC236}">
                  <a16:creationId xmlns:a16="http://schemas.microsoft.com/office/drawing/2014/main" id="{A7BC3A2F-9362-3D5E-7754-406DED3F8CB9}"/>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27">
              <a:extLst>
                <a:ext uri="{FF2B5EF4-FFF2-40B4-BE49-F238E27FC236}">
                  <a16:creationId xmlns:a16="http://schemas.microsoft.com/office/drawing/2014/main" id="{4CACFD03-C5FB-FB26-00EE-5492FABB700C}"/>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8">
              <a:extLst>
                <a:ext uri="{FF2B5EF4-FFF2-40B4-BE49-F238E27FC236}">
                  <a16:creationId xmlns:a16="http://schemas.microsoft.com/office/drawing/2014/main" id="{D93E19E5-6852-FB69-EE88-5A5237501366}"/>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29">
              <a:extLst>
                <a:ext uri="{FF2B5EF4-FFF2-40B4-BE49-F238E27FC236}">
                  <a16:creationId xmlns:a16="http://schemas.microsoft.com/office/drawing/2014/main" id="{81F1D74E-B4DA-391D-D6FF-3AA1341AD5B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0">
              <a:extLst>
                <a:ext uri="{FF2B5EF4-FFF2-40B4-BE49-F238E27FC236}">
                  <a16:creationId xmlns:a16="http://schemas.microsoft.com/office/drawing/2014/main" id="{4A646349-48F4-F4A6-5AD1-FEC142CC481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1">
              <a:extLst>
                <a:ext uri="{FF2B5EF4-FFF2-40B4-BE49-F238E27FC236}">
                  <a16:creationId xmlns:a16="http://schemas.microsoft.com/office/drawing/2014/main" id="{33991B2C-49E8-DAAA-EC38-9E1725BB5324}"/>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2">
              <a:extLst>
                <a:ext uri="{FF2B5EF4-FFF2-40B4-BE49-F238E27FC236}">
                  <a16:creationId xmlns:a16="http://schemas.microsoft.com/office/drawing/2014/main" id="{79ADB283-CDBE-3128-1ABF-9FCF17BE261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3">
              <a:extLst>
                <a:ext uri="{FF2B5EF4-FFF2-40B4-BE49-F238E27FC236}">
                  <a16:creationId xmlns:a16="http://schemas.microsoft.com/office/drawing/2014/main" id="{730B2B0B-E1DC-B27F-96DD-3B04443C1714}"/>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4">
              <a:extLst>
                <a:ext uri="{FF2B5EF4-FFF2-40B4-BE49-F238E27FC236}">
                  <a16:creationId xmlns:a16="http://schemas.microsoft.com/office/drawing/2014/main" id="{0E3CB36C-4E49-EC61-4B53-CDE510B7CDDB}"/>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5">
              <a:extLst>
                <a:ext uri="{FF2B5EF4-FFF2-40B4-BE49-F238E27FC236}">
                  <a16:creationId xmlns:a16="http://schemas.microsoft.com/office/drawing/2014/main" id="{051E201E-3F2D-497B-1A7B-B3729394D9A7}"/>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6">
              <a:extLst>
                <a:ext uri="{FF2B5EF4-FFF2-40B4-BE49-F238E27FC236}">
                  <a16:creationId xmlns:a16="http://schemas.microsoft.com/office/drawing/2014/main" id="{ACD208B1-B626-4F85-89AB-58A4FC70093D}"/>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37">
              <a:extLst>
                <a:ext uri="{FF2B5EF4-FFF2-40B4-BE49-F238E27FC236}">
                  <a16:creationId xmlns:a16="http://schemas.microsoft.com/office/drawing/2014/main" id="{82CAA9AE-F4B1-9537-CA76-28E8CAED25A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38">
              <a:extLst>
                <a:ext uri="{FF2B5EF4-FFF2-40B4-BE49-F238E27FC236}">
                  <a16:creationId xmlns:a16="http://schemas.microsoft.com/office/drawing/2014/main" id="{BA30503C-8A98-B74C-21CB-9742AAF568F9}"/>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39">
              <a:extLst>
                <a:ext uri="{FF2B5EF4-FFF2-40B4-BE49-F238E27FC236}">
                  <a16:creationId xmlns:a16="http://schemas.microsoft.com/office/drawing/2014/main" id="{0B8FB765-02D4-A536-D83A-5B6D759E49AA}"/>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0">
              <a:extLst>
                <a:ext uri="{FF2B5EF4-FFF2-40B4-BE49-F238E27FC236}">
                  <a16:creationId xmlns:a16="http://schemas.microsoft.com/office/drawing/2014/main" id="{0B2D295F-03EA-4E4F-08C5-D25B55C12D0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1">
              <a:extLst>
                <a:ext uri="{FF2B5EF4-FFF2-40B4-BE49-F238E27FC236}">
                  <a16:creationId xmlns:a16="http://schemas.microsoft.com/office/drawing/2014/main" id="{45EC7DEE-88EE-3A49-545D-3E6555FBF892}"/>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2">
              <a:extLst>
                <a:ext uri="{FF2B5EF4-FFF2-40B4-BE49-F238E27FC236}">
                  <a16:creationId xmlns:a16="http://schemas.microsoft.com/office/drawing/2014/main" id="{EFF73B99-6F31-93CC-29B1-0A63C7668F86}"/>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3">
              <a:extLst>
                <a:ext uri="{FF2B5EF4-FFF2-40B4-BE49-F238E27FC236}">
                  <a16:creationId xmlns:a16="http://schemas.microsoft.com/office/drawing/2014/main" id="{89987540-3CF6-C61F-58BC-5DB5A197AE0E}"/>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4">
              <a:extLst>
                <a:ext uri="{FF2B5EF4-FFF2-40B4-BE49-F238E27FC236}">
                  <a16:creationId xmlns:a16="http://schemas.microsoft.com/office/drawing/2014/main" id="{ED976123-412A-98AD-6CB1-D1C67A61C642}"/>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5">
              <a:extLst>
                <a:ext uri="{FF2B5EF4-FFF2-40B4-BE49-F238E27FC236}">
                  <a16:creationId xmlns:a16="http://schemas.microsoft.com/office/drawing/2014/main" id="{1D2A41E9-0846-5D08-B741-D7872899598C}"/>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6">
              <a:extLst>
                <a:ext uri="{FF2B5EF4-FFF2-40B4-BE49-F238E27FC236}">
                  <a16:creationId xmlns:a16="http://schemas.microsoft.com/office/drawing/2014/main" id="{0BB94854-3470-9A38-3C5F-1FB2667609A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47">
              <a:extLst>
                <a:ext uri="{FF2B5EF4-FFF2-40B4-BE49-F238E27FC236}">
                  <a16:creationId xmlns:a16="http://schemas.microsoft.com/office/drawing/2014/main" id="{DDE406C7-2858-642E-78AE-E6716A5F8C0F}"/>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48">
              <a:extLst>
                <a:ext uri="{FF2B5EF4-FFF2-40B4-BE49-F238E27FC236}">
                  <a16:creationId xmlns:a16="http://schemas.microsoft.com/office/drawing/2014/main" id="{169471E2-3BE1-694A-9189-6363831CC461}"/>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49">
              <a:extLst>
                <a:ext uri="{FF2B5EF4-FFF2-40B4-BE49-F238E27FC236}">
                  <a16:creationId xmlns:a16="http://schemas.microsoft.com/office/drawing/2014/main" id="{1544FE0D-8537-6550-8EF3-D492AF2F85D7}"/>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63639840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nd slide with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4895850" cy="1540664"/>
          </a:xfrm>
        </p:spPr>
        <p:txBody>
          <a:bodyPr anchor="ctr"/>
          <a:lstStyle>
            <a:lvl1pPr>
              <a:defRPr sz="3700">
                <a:solidFill>
                  <a:schemeClr val="tx1"/>
                </a:solidFill>
              </a:defRPr>
            </a:lvl1pPr>
          </a:lstStyle>
          <a:p>
            <a:r>
              <a:rPr lang="de-DE"/>
              <a:t>Closing </a:t>
            </a:r>
            <a:br>
              <a:rPr lang="de-DE"/>
            </a:br>
            <a:r>
              <a:rPr lang="de-DE"/>
              <a:t>Words</a:t>
            </a:r>
          </a:p>
        </p:txBody>
      </p:sp>
      <p:sp>
        <p:nvSpPr>
          <p:cNvPr id="16" name="Bildplatzhalter 15">
            <a:extLst>
              <a:ext uri="{FF2B5EF4-FFF2-40B4-BE49-F238E27FC236}">
                <a16:creationId xmlns:a16="http://schemas.microsoft.com/office/drawing/2014/main" id="{4E539FDA-711C-3428-33FC-45198E62E834}"/>
              </a:ext>
            </a:extLst>
          </p:cNvPr>
          <p:cNvSpPr>
            <a:spLocks noGrp="1"/>
          </p:cNvSpPr>
          <p:nvPr>
            <p:ph type="pic" sz="quarter" idx="10" hasCustomPrompt="1"/>
          </p:nvPr>
        </p:nvSpPr>
        <p:spPr bwMode="gray">
          <a:xfrm>
            <a:off x="3694788" y="0"/>
            <a:ext cx="8497212" cy="6858000"/>
          </a:xfrm>
          <a:custGeom>
            <a:avLst/>
            <a:gdLst>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6858000 h 6858000"/>
              <a:gd name="connsiteX4" fmla="*/ 8493912 w 8497212"/>
              <a:gd name="connsiteY4" fmla="*/ 4237555 h 6858000"/>
              <a:gd name="connsiteX5" fmla="*/ 8493025 w 8497212"/>
              <a:gd name="connsiteY5" fmla="*/ 4237555 h 6858000"/>
              <a:gd name="connsiteX6" fmla="*/ 8314629 w 8497212"/>
              <a:gd name="connsiteY6" fmla="*/ 4126731 h 6858000"/>
              <a:gd name="connsiteX7" fmla="*/ 6346823 w 8497212"/>
              <a:gd name="connsiteY7" fmla="*/ 3471334 h 6858000"/>
              <a:gd name="connsiteX8" fmla="*/ 5773572 w 8497212"/>
              <a:gd name="connsiteY8" fmla="*/ 3759525 h 6858000"/>
              <a:gd name="connsiteX9" fmla="*/ 5120006 w 8497212"/>
              <a:gd name="connsiteY9" fmla="*/ 5732716 h 6858000"/>
              <a:gd name="connsiteX10" fmla="*/ 5113027 w 8497212"/>
              <a:gd name="connsiteY10" fmla="*/ 5996224 h 6858000"/>
              <a:gd name="connsiteX11" fmla="*/ 5123431 w 8497212"/>
              <a:gd name="connsiteY11" fmla="*/ 6044192 h 6858000"/>
              <a:gd name="connsiteX12" fmla="*/ 5133836 w 8497212"/>
              <a:gd name="connsiteY12" fmla="*/ 6092288 h 6858000"/>
              <a:gd name="connsiteX13" fmla="*/ 5144240 w 8497212"/>
              <a:gd name="connsiteY13" fmla="*/ 6140256 h 6858000"/>
              <a:gd name="connsiteX14" fmla="*/ 5154644 w 8497212"/>
              <a:gd name="connsiteY14" fmla="*/ 6188351 h 6858000"/>
              <a:gd name="connsiteX15" fmla="*/ 5165049 w 8497212"/>
              <a:gd name="connsiteY15" fmla="*/ 6236320 h 6858000"/>
              <a:gd name="connsiteX16" fmla="*/ 5175453 w 8497212"/>
              <a:gd name="connsiteY16" fmla="*/ 6284415 h 6858000"/>
              <a:gd name="connsiteX17" fmla="*/ 5185857 w 8497212"/>
              <a:gd name="connsiteY17" fmla="*/ 6332511 h 6858000"/>
              <a:gd name="connsiteX18" fmla="*/ 5196261 w 8497212"/>
              <a:gd name="connsiteY18" fmla="*/ 6380479 h 6858000"/>
              <a:gd name="connsiteX19" fmla="*/ 5206666 w 8497212"/>
              <a:gd name="connsiteY19" fmla="*/ 6428575 h 6858000"/>
              <a:gd name="connsiteX20" fmla="*/ 5217070 w 8497212"/>
              <a:gd name="connsiteY20" fmla="*/ 6476543 h 6858000"/>
              <a:gd name="connsiteX21" fmla="*/ 5227474 w 8497212"/>
              <a:gd name="connsiteY21" fmla="*/ 6524639 h 6858000"/>
              <a:gd name="connsiteX22" fmla="*/ 5237879 w 8497212"/>
              <a:gd name="connsiteY22" fmla="*/ 6572607 h 6858000"/>
              <a:gd name="connsiteX23" fmla="*/ 5248283 w 8497212"/>
              <a:gd name="connsiteY23" fmla="*/ 6620703 h 6858000"/>
              <a:gd name="connsiteX24" fmla="*/ 5258687 w 8497212"/>
              <a:gd name="connsiteY24" fmla="*/ 6668798 h 6858000"/>
              <a:gd name="connsiteX25" fmla="*/ 5269091 w 8497212"/>
              <a:gd name="connsiteY25" fmla="*/ 6716766 h 6858000"/>
              <a:gd name="connsiteX26" fmla="*/ 5279496 w 8497212"/>
              <a:gd name="connsiteY26" fmla="*/ 6764862 h 6858000"/>
              <a:gd name="connsiteX27" fmla="*/ 5289900 w 8497212"/>
              <a:gd name="connsiteY27" fmla="*/ 6812830 h 6858000"/>
              <a:gd name="connsiteX28" fmla="*/ 5299671 w 8497212"/>
              <a:gd name="connsiteY28" fmla="*/ 6858000 h 6858000"/>
              <a:gd name="connsiteX29" fmla="*/ 1217638 w 8497212"/>
              <a:gd name="connsiteY29" fmla="*/ 6858000 h 6858000"/>
              <a:gd name="connsiteX30" fmla="*/ 3536682 w 8497212"/>
              <a:gd name="connsiteY30" fmla="*/ 2937256 h 6858000"/>
              <a:gd name="connsiteX31" fmla="*/ 3282648 w 8497212"/>
              <a:gd name="connsiteY31" fmla="*/ 1945132 h 6858000"/>
              <a:gd name="connsiteX32" fmla="*/ 3282775 w 8497212"/>
              <a:gd name="connsiteY32" fmla="*/ 1945132 h 6858000"/>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4237555 h 6858000"/>
              <a:gd name="connsiteX4" fmla="*/ 8493025 w 8497212"/>
              <a:gd name="connsiteY4" fmla="*/ 4237555 h 6858000"/>
              <a:gd name="connsiteX5" fmla="*/ 8314629 w 8497212"/>
              <a:gd name="connsiteY5" fmla="*/ 4126731 h 6858000"/>
              <a:gd name="connsiteX6" fmla="*/ 6346823 w 8497212"/>
              <a:gd name="connsiteY6" fmla="*/ 3471334 h 6858000"/>
              <a:gd name="connsiteX7" fmla="*/ 5773572 w 8497212"/>
              <a:gd name="connsiteY7" fmla="*/ 3759525 h 6858000"/>
              <a:gd name="connsiteX8" fmla="*/ 5120006 w 8497212"/>
              <a:gd name="connsiteY8" fmla="*/ 5732716 h 6858000"/>
              <a:gd name="connsiteX9" fmla="*/ 5113027 w 8497212"/>
              <a:gd name="connsiteY9" fmla="*/ 5996224 h 6858000"/>
              <a:gd name="connsiteX10" fmla="*/ 5123431 w 8497212"/>
              <a:gd name="connsiteY10" fmla="*/ 6044192 h 6858000"/>
              <a:gd name="connsiteX11" fmla="*/ 5133836 w 8497212"/>
              <a:gd name="connsiteY11" fmla="*/ 6092288 h 6858000"/>
              <a:gd name="connsiteX12" fmla="*/ 5144240 w 8497212"/>
              <a:gd name="connsiteY12" fmla="*/ 6140256 h 6858000"/>
              <a:gd name="connsiteX13" fmla="*/ 5154644 w 8497212"/>
              <a:gd name="connsiteY13" fmla="*/ 6188351 h 6858000"/>
              <a:gd name="connsiteX14" fmla="*/ 5165049 w 8497212"/>
              <a:gd name="connsiteY14" fmla="*/ 6236320 h 6858000"/>
              <a:gd name="connsiteX15" fmla="*/ 5175453 w 8497212"/>
              <a:gd name="connsiteY15" fmla="*/ 6284415 h 6858000"/>
              <a:gd name="connsiteX16" fmla="*/ 5185857 w 8497212"/>
              <a:gd name="connsiteY16" fmla="*/ 6332511 h 6858000"/>
              <a:gd name="connsiteX17" fmla="*/ 5196261 w 8497212"/>
              <a:gd name="connsiteY17" fmla="*/ 6380479 h 6858000"/>
              <a:gd name="connsiteX18" fmla="*/ 5206666 w 8497212"/>
              <a:gd name="connsiteY18" fmla="*/ 6428575 h 6858000"/>
              <a:gd name="connsiteX19" fmla="*/ 5217070 w 8497212"/>
              <a:gd name="connsiteY19" fmla="*/ 6476543 h 6858000"/>
              <a:gd name="connsiteX20" fmla="*/ 5227474 w 8497212"/>
              <a:gd name="connsiteY20" fmla="*/ 6524639 h 6858000"/>
              <a:gd name="connsiteX21" fmla="*/ 5237879 w 8497212"/>
              <a:gd name="connsiteY21" fmla="*/ 6572607 h 6858000"/>
              <a:gd name="connsiteX22" fmla="*/ 5248283 w 8497212"/>
              <a:gd name="connsiteY22" fmla="*/ 6620703 h 6858000"/>
              <a:gd name="connsiteX23" fmla="*/ 5258687 w 8497212"/>
              <a:gd name="connsiteY23" fmla="*/ 6668798 h 6858000"/>
              <a:gd name="connsiteX24" fmla="*/ 5269091 w 8497212"/>
              <a:gd name="connsiteY24" fmla="*/ 6716766 h 6858000"/>
              <a:gd name="connsiteX25" fmla="*/ 5279496 w 8497212"/>
              <a:gd name="connsiteY25" fmla="*/ 6764862 h 6858000"/>
              <a:gd name="connsiteX26" fmla="*/ 5289900 w 8497212"/>
              <a:gd name="connsiteY26" fmla="*/ 6812830 h 6858000"/>
              <a:gd name="connsiteX27" fmla="*/ 5299671 w 8497212"/>
              <a:gd name="connsiteY27" fmla="*/ 6858000 h 6858000"/>
              <a:gd name="connsiteX28" fmla="*/ 1217638 w 8497212"/>
              <a:gd name="connsiteY28" fmla="*/ 6858000 h 6858000"/>
              <a:gd name="connsiteX29" fmla="*/ 3536682 w 8497212"/>
              <a:gd name="connsiteY29" fmla="*/ 2937256 h 6858000"/>
              <a:gd name="connsiteX30" fmla="*/ 3282648 w 8497212"/>
              <a:gd name="connsiteY30" fmla="*/ 1945132 h 6858000"/>
              <a:gd name="connsiteX31" fmla="*/ 3282775 w 8497212"/>
              <a:gd name="connsiteY31" fmla="*/ 1945132 h 6858000"/>
              <a:gd name="connsiteX32" fmla="*/ 0 w 8497212"/>
              <a:gd name="connsiteY32" fmla="*/ 0 h 6858000"/>
              <a:gd name="connsiteX0" fmla="*/ 0 w 8497212"/>
              <a:gd name="connsiteY0" fmla="*/ 0 h 6858000"/>
              <a:gd name="connsiteX1" fmla="*/ 8497212 w 8497212"/>
              <a:gd name="connsiteY1" fmla="*/ 0 h 6858000"/>
              <a:gd name="connsiteX2" fmla="*/ 8493912 w 8497212"/>
              <a:gd name="connsiteY2" fmla="*/ 4237555 h 6858000"/>
              <a:gd name="connsiteX3" fmla="*/ 8493025 w 8497212"/>
              <a:gd name="connsiteY3" fmla="*/ 4237555 h 6858000"/>
              <a:gd name="connsiteX4" fmla="*/ 8314629 w 8497212"/>
              <a:gd name="connsiteY4" fmla="*/ 4126731 h 6858000"/>
              <a:gd name="connsiteX5" fmla="*/ 6346823 w 8497212"/>
              <a:gd name="connsiteY5" fmla="*/ 3471334 h 6858000"/>
              <a:gd name="connsiteX6" fmla="*/ 5773572 w 8497212"/>
              <a:gd name="connsiteY6" fmla="*/ 3759525 h 6858000"/>
              <a:gd name="connsiteX7" fmla="*/ 5120006 w 8497212"/>
              <a:gd name="connsiteY7" fmla="*/ 5732716 h 6858000"/>
              <a:gd name="connsiteX8" fmla="*/ 5113027 w 8497212"/>
              <a:gd name="connsiteY8" fmla="*/ 5996224 h 6858000"/>
              <a:gd name="connsiteX9" fmla="*/ 5123431 w 8497212"/>
              <a:gd name="connsiteY9" fmla="*/ 6044192 h 6858000"/>
              <a:gd name="connsiteX10" fmla="*/ 5133836 w 8497212"/>
              <a:gd name="connsiteY10" fmla="*/ 6092288 h 6858000"/>
              <a:gd name="connsiteX11" fmla="*/ 5144240 w 8497212"/>
              <a:gd name="connsiteY11" fmla="*/ 6140256 h 6858000"/>
              <a:gd name="connsiteX12" fmla="*/ 5154644 w 8497212"/>
              <a:gd name="connsiteY12" fmla="*/ 6188351 h 6858000"/>
              <a:gd name="connsiteX13" fmla="*/ 5165049 w 8497212"/>
              <a:gd name="connsiteY13" fmla="*/ 6236320 h 6858000"/>
              <a:gd name="connsiteX14" fmla="*/ 5175453 w 8497212"/>
              <a:gd name="connsiteY14" fmla="*/ 6284415 h 6858000"/>
              <a:gd name="connsiteX15" fmla="*/ 5185857 w 8497212"/>
              <a:gd name="connsiteY15" fmla="*/ 6332511 h 6858000"/>
              <a:gd name="connsiteX16" fmla="*/ 5196261 w 8497212"/>
              <a:gd name="connsiteY16" fmla="*/ 6380479 h 6858000"/>
              <a:gd name="connsiteX17" fmla="*/ 5206666 w 8497212"/>
              <a:gd name="connsiteY17" fmla="*/ 6428575 h 6858000"/>
              <a:gd name="connsiteX18" fmla="*/ 5217070 w 8497212"/>
              <a:gd name="connsiteY18" fmla="*/ 6476543 h 6858000"/>
              <a:gd name="connsiteX19" fmla="*/ 5227474 w 8497212"/>
              <a:gd name="connsiteY19" fmla="*/ 6524639 h 6858000"/>
              <a:gd name="connsiteX20" fmla="*/ 5237879 w 8497212"/>
              <a:gd name="connsiteY20" fmla="*/ 6572607 h 6858000"/>
              <a:gd name="connsiteX21" fmla="*/ 5248283 w 8497212"/>
              <a:gd name="connsiteY21" fmla="*/ 6620703 h 6858000"/>
              <a:gd name="connsiteX22" fmla="*/ 5258687 w 8497212"/>
              <a:gd name="connsiteY22" fmla="*/ 6668798 h 6858000"/>
              <a:gd name="connsiteX23" fmla="*/ 5269091 w 8497212"/>
              <a:gd name="connsiteY23" fmla="*/ 6716766 h 6858000"/>
              <a:gd name="connsiteX24" fmla="*/ 5279496 w 8497212"/>
              <a:gd name="connsiteY24" fmla="*/ 6764862 h 6858000"/>
              <a:gd name="connsiteX25" fmla="*/ 5289900 w 8497212"/>
              <a:gd name="connsiteY25" fmla="*/ 6812830 h 6858000"/>
              <a:gd name="connsiteX26" fmla="*/ 5299671 w 8497212"/>
              <a:gd name="connsiteY26" fmla="*/ 6858000 h 6858000"/>
              <a:gd name="connsiteX27" fmla="*/ 1217638 w 8497212"/>
              <a:gd name="connsiteY27" fmla="*/ 6858000 h 6858000"/>
              <a:gd name="connsiteX28" fmla="*/ 3536682 w 8497212"/>
              <a:gd name="connsiteY28" fmla="*/ 2937256 h 6858000"/>
              <a:gd name="connsiteX29" fmla="*/ 3282648 w 8497212"/>
              <a:gd name="connsiteY29" fmla="*/ 1945132 h 6858000"/>
              <a:gd name="connsiteX30" fmla="*/ 3282775 w 8497212"/>
              <a:gd name="connsiteY30" fmla="*/ 1945132 h 6858000"/>
              <a:gd name="connsiteX31" fmla="*/ 0 w 8497212"/>
              <a:gd name="connsiteY3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97212" h="6858000">
                <a:moveTo>
                  <a:pt x="0" y="0"/>
                </a:moveTo>
                <a:lnTo>
                  <a:pt x="8497212" y="0"/>
                </a:lnTo>
                <a:lnTo>
                  <a:pt x="8493912" y="4237555"/>
                </a:lnTo>
                <a:lnTo>
                  <a:pt x="8493025" y="4237555"/>
                </a:lnTo>
                <a:cubicBezTo>
                  <a:pt x="8444556" y="4188568"/>
                  <a:pt x="8384287" y="4150016"/>
                  <a:pt x="8314629" y="4126731"/>
                </a:cubicBezTo>
                <a:lnTo>
                  <a:pt x="6346823" y="3471334"/>
                </a:lnTo>
                <a:cubicBezTo>
                  <a:pt x="6109174" y="3392192"/>
                  <a:pt x="5852493" y="3521211"/>
                  <a:pt x="5773572" y="3759525"/>
                </a:cubicBezTo>
                <a:lnTo>
                  <a:pt x="5120006" y="5732716"/>
                </a:lnTo>
                <a:cubicBezTo>
                  <a:pt x="5090696" y="5821273"/>
                  <a:pt x="5090062" y="5912502"/>
                  <a:pt x="5113027" y="5996224"/>
                </a:cubicBezTo>
                <a:cubicBezTo>
                  <a:pt x="5115692" y="6012510"/>
                  <a:pt x="5119117" y="6028542"/>
                  <a:pt x="5123431" y="6044192"/>
                </a:cubicBezTo>
                <a:cubicBezTo>
                  <a:pt x="5126096" y="6060478"/>
                  <a:pt x="5129522" y="6076510"/>
                  <a:pt x="5133836" y="6092288"/>
                </a:cubicBezTo>
                <a:cubicBezTo>
                  <a:pt x="5136500" y="6108574"/>
                  <a:pt x="5139799" y="6124606"/>
                  <a:pt x="5144240" y="6140256"/>
                </a:cubicBezTo>
                <a:cubicBezTo>
                  <a:pt x="5146905" y="6156542"/>
                  <a:pt x="5150330" y="6172574"/>
                  <a:pt x="5154644" y="6188351"/>
                </a:cubicBezTo>
                <a:cubicBezTo>
                  <a:pt x="5157309" y="6204638"/>
                  <a:pt x="5160735" y="6220670"/>
                  <a:pt x="5165049" y="6236320"/>
                </a:cubicBezTo>
                <a:cubicBezTo>
                  <a:pt x="5167713" y="6252606"/>
                  <a:pt x="5171139" y="6268638"/>
                  <a:pt x="5175453" y="6284415"/>
                </a:cubicBezTo>
                <a:cubicBezTo>
                  <a:pt x="5178117" y="6300702"/>
                  <a:pt x="5181543" y="6316734"/>
                  <a:pt x="5185857" y="6332511"/>
                </a:cubicBezTo>
                <a:cubicBezTo>
                  <a:pt x="5188522" y="6348797"/>
                  <a:pt x="5191947" y="6364829"/>
                  <a:pt x="5196261" y="6380479"/>
                </a:cubicBezTo>
                <a:cubicBezTo>
                  <a:pt x="5198926" y="6396766"/>
                  <a:pt x="5202225" y="6412797"/>
                  <a:pt x="5206666" y="6428575"/>
                </a:cubicBezTo>
                <a:cubicBezTo>
                  <a:pt x="5209330" y="6444861"/>
                  <a:pt x="5212629" y="6460893"/>
                  <a:pt x="5217070" y="6476543"/>
                </a:cubicBezTo>
                <a:cubicBezTo>
                  <a:pt x="5219735" y="6492829"/>
                  <a:pt x="5223160" y="6508861"/>
                  <a:pt x="5227474" y="6524639"/>
                </a:cubicBezTo>
                <a:cubicBezTo>
                  <a:pt x="5230139" y="6540925"/>
                  <a:pt x="5233565" y="6556957"/>
                  <a:pt x="5237879" y="6572607"/>
                </a:cubicBezTo>
                <a:cubicBezTo>
                  <a:pt x="5240543" y="6588893"/>
                  <a:pt x="5243969" y="6604925"/>
                  <a:pt x="5248283" y="6620703"/>
                </a:cubicBezTo>
                <a:cubicBezTo>
                  <a:pt x="5250947" y="6636989"/>
                  <a:pt x="5254373" y="6653021"/>
                  <a:pt x="5258687" y="6668798"/>
                </a:cubicBezTo>
                <a:cubicBezTo>
                  <a:pt x="5261352" y="6685084"/>
                  <a:pt x="5264777" y="6701116"/>
                  <a:pt x="5269091" y="6716766"/>
                </a:cubicBezTo>
                <a:cubicBezTo>
                  <a:pt x="5271756" y="6733053"/>
                  <a:pt x="5275182" y="6749085"/>
                  <a:pt x="5279496" y="6764862"/>
                </a:cubicBezTo>
                <a:cubicBezTo>
                  <a:pt x="5282160" y="6781148"/>
                  <a:pt x="5285586" y="6797180"/>
                  <a:pt x="5289900" y="6812830"/>
                </a:cubicBezTo>
                <a:lnTo>
                  <a:pt x="5299671" y="6858000"/>
                </a:lnTo>
                <a:lnTo>
                  <a:pt x="1217638" y="6858000"/>
                </a:lnTo>
                <a:lnTo>
                  <a:pt x="3536682" y="2937256"/>
                </a:lnTo>
                <a:cubicBezTo>
                  <a:pt x="3740214" y="2593086"/>
                  <a:pt x="3626520" y="2148840"/>
                  <a:pt x="3282648" y="1945132"/>
                </a:cubicBezTo>
                <a:lnTo>
                  <a:pt x="3282775" y="1945132"/>
                </a:lnTo>
                <a:lnTo>
                  <a:pt x="0" y="0"/>
                </a:lnTo>
                <a:close/>
              </a:path>
            </a:pathLst>
          </a:custGeom>
          <a:solidFill>
            <a:schemeClr val="bg1">
              <a:lumMod val="95000"/>
            </a:schemeClr>
          </a:solidFill>
          <a:ln>
            <a:noFill/>
          </a:ln>
        </p:spPr>
        <p:txBody>
          <a:bodyPr wrap="square">
            <a:noAutofit/>
          </a:bodyPr>
          <a:lstStyle/>
          <a:p>
            <a:r>
              <a:rPr lang="de-DE"/>
              <a:t> </a:t>
            </a:r>
          </a:p>
        </p:txBody>
      </p:sp>
      <p:sp>
        <p:nvSpPr>
          <p:cNvPr id="3" name="Titel 1">
            <a:extLst>
              <a:ext uri="{FF2B5EF4-FFF2-40B4-BE49-F238E27FC236}">
                <a16:creationId xmlns:a16="http://schemas.microsoft.com/office/drawing/2014/main" id="{8619D360-8B14-C303-6F58-E0DBF5E2508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05967963-11B7-AC55-2448-48D3613FADB2}"/>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54C15D16-68C1-A48D-F49C-05D1627E48E2}"/>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66D9C2A3-A8F1-730C-DE5D-094ED2F6B2C8}"/>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F2853FA3-DE3F-FB87-85D1-E500C1D3B6B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7">
              <a:extLst>
                <a:ext uri="{FF2B5EF4-FFF2-40B4-BE49-F238E27FC236}">
                  <a16:creationId xmlns:a16="http://schemas.microsoft.com/office/drawing/2014/main" id="{C459950A-F6DD-DEEF-3BF2-9079CEFA656A}"/>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8">
              <a:extLst>
                <a:ext uri="{FF2B5EF4-FFF2-40B4-BE49-F238E27FC236}">
                  <a16:creationId xmlns:a16="http://schemas.microsoft.com/office/drawing/2014/main" id="{9122091E-D4AD-DC3C-6D96-3D5976970020}"/>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9">
              <a:extLst>
                <a:ext uri="{FF2B5EF4-FFF2-40B4-BE49-F238E27FC236}">
                  <a16:creationId xmlns:a16="http://schemas.microsoft.com/office/drawing/2014/main" id="{3E60BAE2-B196-EDE8-0C06-B1A6619EFF7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0">
              <a:extLst>
                <a:ext uri="{FF2B5EF4-FFF2-40B4-BE49-F238E27FC236}">
                  <a16:creationId xmlns:a16="http://schemas.microsoft.com/office/drawing/2014/main" id="{F963F5DB-E0C5-A790-99E9-FFCAEA92F98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1">
              <a:extLst>
                <a:ext uri="{FF2B5EF4-FFF2-40B4-BE49-F238E27FC236}">
                  <a16:creationId xmlns:a16="http://schemas.microsoft.com/office/drawing/2014/main" id="{C0184552-E806-0315-505D-6C6B35424B59}"/>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Rectangle 12">
              <a:extLst>
                <a:ext uri="{FF2B5EF4-FFF2-40B4-BE49-F238E27FC236}">
                  <a16:creationId xmlns:a16="http://schemas.microsoft.com/office/drawing/2014/main" id="{170E0C07-A029-C201-D2AC-848B483F7058}"/>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3">
              <a:extLst>
                <a:ext uri="{FF2B5EF4-FFF2-40B4-BE49-F238E27FC236}">
                  <a16:creationId xmlns:a16="http://schemas.microsoft.com/office/drawing/2014/main" id="{C2707526-B1EF-BAED-EBB8-6EDA682EECCA}"/>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4">
              <a:extLst>
                <a:ext uri="{FF2B5EF4-FFF2-40B4-BE49-F238E27FC236}">
                  <a16:creationId xmlns:a16="http://schemas.microsoft.com/office/drawing/2014/main" id="{FB5AE55F-C2B1-4C66-0FC5-474761A9CFE9}"/>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5">
              <a:extLst>
                <a:ext uri="{FF2B5EF4-FFF2-40B4-BE49-F238E27FC236}">
                  <a16:creationId xmlns:a16="http://schemas.microsoft.com/office/drawing/2014/main" id="{9BA829F1-FB0F-2786-BCAF-C58C26B33F76}"/>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6">
              <a:extLst>
                <a:ext uri="{FF2B5EF4-FFF2-40B4-BE49-F238E27FC236}">
                  <a16:creationId xmlns:a16="http://schemas.microsoft.com/office/drawing/2014/main" id="{1BFBAAF5-A08C-C4A4-62D6-02F86D17ADF9}"/>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7">
              <a:extLst>
                <a:ext uri="{FF2B5EF4-FFF2-40B4-BE49-F238E27FC236}">
                  <a16:creationId xmlns:a16="http://schemas.microsoft.com/office/drawing/2014/main" id="{7534D406-290A-20D2-7F3F-231E6D85E2EE}"/>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Oval 18">
              <a:extLst>
                <a:ext uri="{FF2B5EF4-FFF2-40B4-BE49-F238E27FC236}">
                  <a16:creationId xmlns:a16="http://schemas.microsoft.com/office/drawing/2014/main" id="{40D56EBE-075A-C04E-7F92-F65D78108947}"/>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4" name="Group 21">
            <a:extLst>
              <a:ext uri="{FF2B5EF4-FFF2-40B4-BE49-F238E27FC236}">
                <a16:creationId xmlns:a16="http://schemas.microsoft.com/office/drawing/2014/main" id="{D70494E6-0B56-E208-B49B-EF3500DDC89E}"/>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5CCC5EF2-4296-A593-458D-19528BE26494}"/>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9E2E8C75-2543-5E8A-254F-E8D318456BC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A79DB678-F520-5E46-D60E-0ABFA6D8E26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FFAF3F09-53F1-7767-8026-103BFDF1A185}"/>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89BF6E9-AB67-9966-263B-AA88937A4B52}"/>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5A6C0357-9E93-51D1-7742-91AC3B50E526}"/>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AB9D74EF-60E0-33AE-681D-058F52694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3992BB11-FA98-0177-08ED-EB078D120945}"/>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A816CC67-33E9-BBEC-3C40-AB0491CAD2B5}"/>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D89CF044-C8F1-29D5-9C22-24FE41FF94B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5ABC3A28-73BA-64CE-0A4A-5DD46FA97AD5}"/>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2773DBA3-1063-1756-56BF-DA58ECDBDF3F}"/>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3AE806-0D7B-EE03-3E7E-5612C871E87C}"/>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D3B2AEBA-9674-5E1F-9A8A-95A09841EB00}"/>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7B8B3F6D-54C1-73A7-488E-4688589C25AB}"/>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63E84198-0D6C-FC70-B633-524D7FC8B98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70A1FC44-7303-BF99-A8F5-88EAF53A5613}"/>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3189B89F-B8E2-FDCC-27D0-F133B74ECA4F}"/>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3D6F79C-F680-619C-9A4A-765980DF9A6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069885CB-9B4A-CB67-44A2-E9856F5945C6}"/>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42B984B9-BC83-C904-0ABC-8BE14D814A2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ACF37363-8415-02D8-3194-6204BF5673AA}"/>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7985D20F-9BE4-BD87-FBC8-4B0DAA63A663}"/>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99332342-AB37-AF01-7E06-004E93B7C88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CB6D1926-FC1C-6007-45C5-010D0C56E47E}"/>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325D3E55-820D-B65B-34C5-127EB0624D01}"/>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AE6FE7FF-3D06-4772-342C-905797B1C549}"/>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75DB51F4-636A-C341-BDD4-9A4F2EB3FE06}"/>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DC5186B1-87FD-CDAD-FB08-D228EB8E20D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7172798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7308056" cy="1540664"/>
          </a:xfrm>
        </p:spPr>
        <p:txBody>
          <a:bodyPr/>
          <a:lstStyle>
            <a:lvl1pPr>
              <a:defRPr sz="4700">
                <a:solidFill>
                  <a:schemeClr val="bg1"/>
                </a:solidFill>
              </a:defRPr>
            </a:lvl1pPr>
          </a:lstStyle>
          <a:p>
            <a:r>
              <a:rPr lang="de-DE"/>
              <a:t>Closing </a:t>
            </a:r>
            <a:br>
              <a:rPr lang="de-DE"/>
            </a:br>
            <a:r>
              <a:rPr lang="de-DE"/>
              <a:t>Words</a:t>
            </a:r>
          </a:p>
        </p:txBody>
      </p:sp>
      <p:sp>
        <p:nvSpPr>
          <p:cNvPr id="8" name="Grafik 5">
            <a:extLst>
              <a:ext uri="{FF2B5EF4-FFF2-40B4-BE49-F238E27FC236}">
                <a16:creationId xmlns:a16="http://schemas.microsoft.com/office/drawing/2014/main" id="{4DA71EDF-2289-B17D-23DE-09D484E95B9F}"/>
              </a:ext>
            </a:extLst>
          </p:cNvPr>
          <p:cNvSpPr/>
          <p:nvPr/>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3" name="Titel 1">
            <a:extLst>
              <a:ext uri="{FF2B5EF4-FFF2-40B4-BE49-F238E27FC236}">
                <a16:creationId xmlns:a16="http://schemas.microsoft.com/office/drawing/2014/main" id="{92EC8225-9C95-B9A9-A62A-FB9ACC43D59A}"/>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81433DCD-1403-525A-51C9-D85747050517}"/>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2F47A2AB-2CB3-507E-D9D9-DFF1BFE60427}"/>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231D8171-8E3B-6D84-EF2B-8D066DF13AED}"/>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B36C1D06-FBCD-ADED-B776-55926BCC210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0696585D-EB93-DBD5-3A0B-625CFF7B612D}"/>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81275EB8-90F4-7794-5A73-52D0EA76A771}"/>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9">
              <a:extLst>
                <a:ext uri="{FF2B5EF4-FFF2-40B4-BE49-F238E27FC236}">
                  <a16:creationId xmlns:a16="http://schemas.microsoft.com/office/drawing/2014/main" id="{590ABABF-8092-D469-1A8A-AEBBC95441F8}"/>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0">
              <a:extLst>
                <a:ext uri="{FF2B5EF4-FFF2-40B4-BE49-F238E27FC236}">
                  <a16:creationId xmlns:a16="http://schemas.microsoft.com/office/drawing/2014/main" id="{6AC1D440-D12E-2A9A-C179-616434090BE0}"/>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1">
              <a:extLst>
                <a:ext uri="{FF2B5EF4-FFF2-40B4-BE49-F238E27FC236}">
                  <a16:creationId xmlns:a16="http://schemas.microsoft.com/office/drawing/2014/main" id="{5EFEF4CD-3568-D135-AF65-5F01A0F321ED}"/>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Rectangle 12">
              <a:extLst>
                <a:ext uri="{FF2B5EF4-FFF2-40B4-BE49-F238E27FC236}">
                  <a16:creationId xmlns:a16="http://schemas.microsoft.com/office/drawing/2014/main" id="{46F58ED3-1AC5-359D-FC78-981B6E45FFBE}"/>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3">
              <a:extLst>
                <a:ext uri="{FF2B5EF4-FFF2-40B4-BE49-F238E27FC236}">
                  <a16:creationId xmlns:a16="http://schemas.microsoft.com/office/drawing/2014/main" id="{B5F86F61-5730-A096-814C-60EE38F55820}"/>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4">
              <a:extLst>
                <a:ext uri="{FF2B5EF4-FFF2-40B4-BE49-F238E27FC236}">
                  <a16:creationId xmlns:a16="http://schemas.microsoft.com/office/drawing/2014/main" id="{3F2E7B21-553B-6C3B-2807-9399351F65FE}"/>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5">
              <a:extLst>
                <a:ext uri="{FF2B5EF4-FFF2-40B4-BE49-F238E27FC236}">
                  <a16:creationId xmlns:a16="http://schemas.microsoft.com/office/drawing/2014/main" id="{B09B5F53-17ED-06FB-A4CB-AFDA164BA009}"/>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6">
              <a:extLst>
                <a:ext uri="{FF2B5EF4-FFF2-40B4-BE49-F238E27FC236}">
                  <a16:creationId xmlns:a16="http://schemas.microsoft.com/office/drawing/2014/main" id="{BF006728-E93A-08D7-65DC-59E592AC6EBA}"/>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7">
              <a:extLst>
                <a:ext uri="{FF2B5EF4-FFF2-40B4-BE49-F238E27FC236}">
                  <a16:creationId xmlns:a16="http://schemas.microsoft.com/office/drawing/2014/main" id="{F1862EAE-6285-1ED8-8A93-FB580AFB625B}"/>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Oval 18">
              <a:extLst>
                <a:ext uri="{FF2B5EF4-FFF2-40B4-BE49-F238E27FC236}">
                  <a16:creationId xmlns:a16="http://schemas.microsoft.com/office/drawing/2014/main" id="{92D84971-03F2-DA27-209E-F28D085B8F7F}"/>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3" name="Group 21">
            <a:extLst>
              <a:ext uri="{FF2B5EF4-FFF2-40B4-BE49-F238E27FC236}">
                <a16:creationId xmlns:a16="http://schemas.microsoft.com/office/drawing/2014/main" id="{83562CBA-E7D0-AAF6-B949-7E5865F44A97}"/>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7BF1C907-6EB1-3A58-9DF5-A0E363789926}"/>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B5621F8D-AFC4-3A94-6974-D26C98D3D6B7}"/>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50C870D4-4602-33C0-7CF6-40006F45F37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8AFCC27E-370E-9964-C63C-4E7B6B859C5D}"/>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E1F5A9F-00C2-04BA-2695-0824AD54D37E}"/>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11BC99B0-46C8-747F-1741-95196E9AE71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CF628217-5B54-B62E-A925-20AADC1169B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FE855B47-FB84-E2C3-4F16-AE6D1CBD9CA9}"/>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E38CA078-DD66-C257-CA9A-95BE47DB849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FBB36E49-20B4-3C82-01B1-91F3C04628B5}"/>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975C98D2-7F76-D184-D23E-214EDC025FE9}"/>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7BFE05CB-8851-7824-2856-3C56817EB697}"/>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9E5FE0-551E-5BE4-1D83-0CB17D96C79D}"/>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93287D2D-1446-89FF-E880-3B32066E64B4}"/>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6E5C81C3-E0C4-36E5-CDA6-B72F49B409BE}"/>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2A25612F-CFD8-1B3E-4506-ED4CAF3D84DB}"/>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4E756BFA-DAF0-6975-8769-C2C134A6F687}"/>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B9FA3B03-E2E8-20D1-7C50-80BFC8188751}"/>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47F0603-C5DF-D44C-2B2C-6B5826F1C00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4DD54842-B682-5B95-087D-A5877DBBF32A}"/>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EEE92E12-E08A-6852-F71B-E880A9BED63D}"/>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BD798BE9-5121-8D36-A814-3298205AA4BE}"/>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5182F0DE-8402-F2A0-5B2C-301902E03E0C}"/>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BF7D5ECE-7DA4-C460-A8BF-9B538E9A5EFD}"/>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8A539DF3-068B-017C-0957-F2CA4BCD931B}"/>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E3C5EB05-595E-7700-D711-CBC86B47A046}"/>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8A266FAB-D164-5B45-CF45-56966C432E61}"/>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8A9188CB-C42B-B9CB-8C95-A84BD613C528}"/>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BCEE978E-C7F8-76FD-D5EE-F3B522ED02B1}"/>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809034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 | Two columns">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312256"/>
          </a:xfrm>
          <a:prstGeom prst="rect">
            <a:avLst/>
          </a:prstGeom>
        </p:spPr>
        <p:txBody>
          <a:bodyPr wrap="square" numCol="2" spcCol="216000"/>
          <a:lstStyle>
            <a:lvl1pPr marL="457200" indent="-457200">
              <a:lnSpc>
                <a:spcPct val="110000"/>
              </a:lnSpc>
              <a:spcBef>
                <a:spcPts val="1200"/>
              </a:spcBef>
              <a:spcAft>
                <a:spcPts val="0"/>
              </a:spcAft>
              <a:buFont typeface="+mj-lt"/>
              <a:buAutoNum type="arabicPeriod"/>
              <a:tabLst>
                <a:tab pos="449263" algn="l"/>
              </a:tabLst>
              <a:defRPr sz="2000" b="0">
                <a:solidFill>
                  <a:schemeClr val="tx1"/>
                </a:solidFill>
                <a:latin typeface="+mj-lt"/>
              </a:defRPr>
            </a:lvl1pPr>
            <a:lvl2pPr marL="457200" indent="-12700">
              <a:lnSpc>
                <a:spcPct val="110000"/>
              </a:lnSpc>
              <a:spcBef>
                <a:spcPts val="600"/>
              </a:spcBef>
              <a:spcAft>
                <a:spcPts val="0"/>
              </a:spcAft>
              <a:buFont typeface="+mj-lt"/>
              <a:buNone/>
              <a:tabLst>
                <a:tab pos="449263" algn="l"/>
              </a:tabLst>
              <a:defRPr sz="2000" b="0">
                <a:solidFill>
                  <a:schemeClr val="tx1"/>
                </a:solidFill>
                <a:latin typeface="+mj-lt"/>
              </a:defRPr>
            </a:lvl2pPr>
            <a:lvl3pPr marL="457200" indent="-12700">
              <a:lnSpc>
                <a:spcPct val="110000"/>
              </a:lnSpc>
              <a:spcBef>
                <a:spcPts val="600"/>
              </a:spcBef>
              <a:spcAft>
                <a:spcPts val="0"/>
              </a:spcAft>
              <a:buFont typeface="+mj-lt"/>
              <a:buNone/>
              <a:tabLst>
                <a:tab pos="449263" algn="l"/>
              </a:tabLst>
              <a:defRPr sz="2000" b="0">
                <a:solidFill>
                  <a:schemeClr val="tx1"/>
                </a:solidFill>
                <a:latin typeface="+mj-lt"/>
              </a:defRPr>
            </a:lvl3pPr>
            <a:lvl4pPr marL="457200" indent="-12700">
              <a:lnSpc>
                <a:spcPct val="110000"/>
              </a:lnSpc>
              <a:spcBef>
                <a:spcPts val="600"/>
              </a:spcBef>
              <a:spcAft>
                <a:spcPts val="0"/>
              </a:spcAft>
              <a:buFont typeface="+mj-lt"/>
              <a:buNone/>
              <a:tabLst>
                <a:tab pos="449263" algn="l"/>
              </a:tabLst>
              <a:defRPr sz="2000" b="0">
                <a:solidFill>
                  <a:schemeClr val="tx1"/>
                </a:solidFill>
                <a:latin typeface="+mj-lt"/>
              </a:defRPr>
            </a:lvl4pPr>
            <a:lvl5pPr marL="457200" indent="-12700">
              <a:lnSpc>
                <a:spcPct val="110000"/>
              </a:lnSpc>
              <a:spcBef>
                <a:spcPts val="600"/>
              </a:spcBef>
              <a:spcAft>
                <a:spcPts val="0"/>
              </a:spcAft>
              <a:buFont typeface="+mj-lt"/>
              <a:buNone/>
              <a:tabLst>
                <a:tab pos="449263" algn="l"/>
              </a:tabLst>
              <a:defRPr sz="2000" b="0">
                <a:solidFill>
                  <a:schemeClr val="tx1"/>
                </a:solidFill>
                <a:latin typeface="+mj-lt"/>
              </a:defRPr>
            </a:lvl5pPr>
            <a:lvl6pPr marL="457200" indent="-12700">
              <a:lnSpc>
                <a:spcPct val="110000"/>
              </a:lnSpc>
              <a:spcBef>
                <a:spcPts val="600"/>
              </a:spcBef>
              <a:spcAft>
                <a:spcPts val="0"/>
              </a:spcAft>
              <a:buFont typeface="+mj-lt"/>
              <a:buNone/>
              <a:tabLst>
                <a:tab pos="449263" algn="l"/>
              </a:tabLst>
              <a:defRPr sz="2000" b="0">
                <a:solidFill>
                  <a:schemeClr val="tx1"/>
                </a:solidFill>
                <a:latin typeface="+mj-lt"/>
              </a:defRPr>
            </a:lvl6pPr>
            <a:lvl7pPr marL="457200" indent="-12700">
              <a:lnSpc>
                <a:spcPct val="110000"/>
              </a:lnSpc>
              <a:spcBef>
                <a:spcPts val="600"/>
              </a:spcBef>
              <a:spcAft>
                <a:spcPts val="0"/>
              </a:spcAft>
              <a:buNone/>
              <a:tabLst>
                <a:tab pos="449263" algn="l"/>
              </a:tabLst>
              <a:defRPr sz="2000" b="0">
                <a:solidFill>
                  <a:schemeClr val="tx1"/>
                </a:solidFill>
                <a:latin typeface="+mj-lt"/>
              </a:defRPr>
            </a:lvl7pPr>
            <a:lvl8pPr marL="457200" indent="-12700">
              <a:lnSpc>
                <a:spcPct val="110000"/>
              </a:lnSpc>
              <a:spcBef>
                <a:spcPts val="600"/>
              </a:spcBef>
              <a:spcAft>
                <a:spcPts val="0"/>
              </a:spcAft>
              <a:buFont typeface="+mj-lt"/>
              <a:buNone/>
              <a:tabLst>
                <a:tab pos="449263" algn="l"/>
              </a:tabLst>
              <a:defRPr sz="2000" b="0">
                <a:solidFill>
                  <a:schemeClr val="tx1"/>
                </a:solidFill>
                <a:latin typeface="+mj-lt"/>
              </a:defRPr>
            </a:lvl8pPr>
            <a:lvl9pPr marL="457200" indent="-12700">
              <a:lnSpc>
                <a:spcPct val="110000"/>
              </a:lnSpc>
              <a:spcBef>
                <a:spcPts val="600"/>
              </a:spcBef>
              <a:spcAft>
                <a:spcPts val="0"/>
              </a:spcAft>
              <a:buFont typeface="+mj-lt"/>
              <a:buNone/>
              <a:tabLst>
                <a:tab pos="449263" algn="l"/>
              </a:tabLst>
              <a:defRPr sz="2000" b="0">
                <a:solidFill>
                  <a:schemeClr val="tx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3" name="Fußzeilenplatzhalter 2">
            <a:extLst>
              <a:ext uri="{FF2B5EF4-FFF2-40B4-BE49-F238E27FC236}">
                <a16:creationId xmlns:a16="http://schemas.microsoft.com/office/drawing/2014/main" id="{A3419D1B-E0B9-50F2-DDC8-C6FB2B7E6A4C}"/>
              </a:ext>
            </a:extLst>
          </p:cNvPr>
          <p:cNvSpPr>
            <a:spLocks noGrp="1"/>
          </p:cNvSpPr>
          <p:nvPr>
            <p:ph type="ftr" sz="quarter" idx="13"/>
          </p:nvPr>
        </p:nvSpPr>
        <p:spPr bwMode="gray"/>
        <p:txBody>
          <a:bodyPr/>
          <a:lstStyle/>
          <a:p>
            <a:r>
              <a:rPr lang="de-DE"/>
              <a:t>Date dd.mm.yyyy  |  Security label</a:t>
            </a:r>
          </a:p>
        </p:txBody>
      </p:sp>
      <p:sp>
        <p:nvSpPr>
          <p:cNvPr id="9" name="Titel 8">
            <a:extLst>
              <a:ext uri="{FF2B5EF4-FFF2-40B4-BE49-F238E27FC236}">
                <a16:creationId xmlns:a16="http://schemas.microsoft.com/office/drawing/2014/main" id="{A9A3FA9C-BFA0-9550-D0D4-6DB896226032}"/>
              </a:ext>
            </a:extLst>
          </p:cNvPr>
          <p:cNvSpPr>
            <a:spLocks noGrp="1"/>
          </p:cNvSpPr>
          <p:nvPr>
            <p:ph type="title" hasCustomPrompt="1"/>
          </p:nvPr>
        </p:nvSpPr>
        <p:spPr bwMode="gray"/>
        <p:txBody>
          <a:bodyPr/>
          <a:lstStyle/>
          <a:p>
            <a:r>
              <a:rPr lang="de-DE" err="1"/>
              <a:t>Heading</a:t>
            </a:r>
            <a:r>
              <a:rPr lang="de-DE"/>
              <a:t> (</a:t>
            </a:r>
            <a:r>
              <a:rPr lang="de-DE" err="1"/>
              <a:t>one</a:t>
            </a:r>
            <a:r>
              <a:rPr lang="de-DE"/>
              <a:t> </a:t>
            </a:r>
            <a:r>
              <a:rPr lang="de-DE" err="1"/>
              <a:t>line</a:t>
            </a:r>
            <a:r>
              <a:rPr lang="de-DE"/>
              <a:t>)</a:t>
            </a:r>
          </a:p>
        </p:txBody>
      </p:sp>
      <p:sp>
        <p:nvSpPr>
          <p:cNvPr id="2" name="Slide Number Placeholder 1">
            <a:extLst>
              <a:ext uri="{FF2B5EF4-FFF2-40B4-BE49-F238E27FC236}">
                <a16:creationId xmlns:a16="http://schemas.microsoft.com/office/drawing/2014/main" id="{816E1B79-03A0-2139-901A-232D3C0581D2}"/>
              </a:ext>
            </a:extLst>
          </p:cNvPr>
          <p:cNvSpPr>
            <a:spLocks noGrp="1"/>
          </p:cNvSpPr>
          <p:nvPr>
            <p:ph type="sldNum" sz="quarter" idx="14"/>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3488803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 1">
    <p:bg>
      <p:bgPr>
        <a:solidFill>
          <a:schemeClr val="accent1"/>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846401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2">
    <p:bg>
      <p:bgPr>
        <a:solidFill>
          <a:schemeClr val="accent2"/>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289175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3">
    <p:bg>
      <p:bgPr>
        <a:solidFill>
          <a:schemeClr val="accent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9625034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4">
    <p:bg>
      <p:bgPr>
        <a:solidFill>
          <a:srgbClr val="BC27A5"/>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661221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5">
    <p:bg>
      <p:bgPr>
        <a:solidFill>
          <a:srgbClr val="25C7E0"/>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78316665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3.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B1D222B-2AE8-294D-7F5B-6726DAE2C2C6}"/>
              </a:ext>
            </a:extLst>
          </p:cNvPr>
          <p:cNvGraphicFramePr>
            <a:graphicFrameLocks noChangeAspect="1"/>
          </p:cNvGraphicFramePr>
          <p:nvPr userDrawn="1">
            <p:custDataLst>
              <p:tags r:id="rId39"/>
            </p:custDataLst>
            <p:extLst>
              <p:ext uri="{D42A27DB-BD31-4B8C-83A1-F6EECF244321}">
                <p14:modId xmlns:p14="http://schemas.microsoft.com/office/powerpoint/2010/main" val="1398291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0" imgW="306" imgH="306" progId="TCLayout.ActiveDocument.1">
                  <p:embed/>
                </p:oleObj>
              </mc:Choice>
              <mc:Fallback>
                <p:oleObj name="think-cell Folie" r:id="rId40" imgW="306" imgH="306" progId="TCLayout.ActiveDocument.1">
                  <p:embed/>
                  <p:pic>
                    <p:nvPicPr>
                      <p:cNvPr id="6" name="think-cell data - do not delete" hidden="1">
                        <a:extLst>
                          <a:ext uri="{FF2B5EF4-FFF2-40B4-BE49-F238E27FC236}">
                            <a16:creationId xmlns:a16="http://schemas.microsoft.com/office/drawing/2014/main" id="{BB1D222B-2AE8-294D-7F5B-6726DAE2C2C6}"/>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pic>
        <p:nvPicPr>
          <p:cNvPr id="458" name="Grafik 457" hidden="1">
            <a:extLst>
              <a:ext uri="{FF2B5EF4-FFF2-40B4-BE49-F238E27FC236}">
                <a16:creationId xmlns:a16="http://schemas.microsoft.com/office/drawing/2014/main" id="{01A09C75-235A-7CE7-C6E0-1FC67430B156}"/>
              </a:ext>
            </a:extLst>
          </p:cNvPr>
          <p:cNvPicPr>
            <a:picLocks noChangeAspect="1"/>
          </p:cNvPicPr>
          <p:nvPr userDrawn="1"/>
        </p:nvPicPr>
        <p:blipFill>
          <a:blip>
            <a:extLst>
              <a:ext uri="{96DAC541-7B7A-43D3-8B79-37D633B846F1}">
                <asvg:svgBlip xmlns:asvg="http://schemas.microsoft.com/office/drawing/2016/SVG/main" r:embed="rId42"/>
              </a:ext>
            </a:extLst>
          </a:blip>
          <a:stretch>
            <a:fillRect/>
          </a:stretch>
        </p:blipFill>
        <p:spPr bwMode="gray">
          <a:xfrm>
            <a:off x="3699" y="0"/>
            <a:ext cx="12184602" cy="6858000"/>
          </a:xfrm>
          <a:prstGeom prst="rect">
            <a:avLst/>
          </a:prstGeom>
        </p:spPr>
      </p:pic>
      <p:sp>
        <p:nvSpPr>
          <p:cNvPr id="2" name="Titelplatzhalter 1"/>
          <p:cNvSpPr>
            <a:spLocks noGrp="1"/>
          </p:cNvSpPr>
          <p:nvPr>
            <p:ph type="title"/>
          </p:nvPr>
        </p:nvSpPr>
        <p:spPr bwMode="gray">
          <a:xfrm>
            <a:off x="1092200" y="789687"/>
            <a:ext cx="10007600" cy="604039"/>
          </a:xfrm>
          <a:prstGeom prst="rect">
            <a:avLst/>
          </a:prstGeom>
        </p:spPr>
        <p:txBody>
          <a:bodyPr vert="horz" lIns="0" tIns="0" rIns="0" bIns="0" rtlCol="0" anchor="t">
            <a:normAutofit/>
          </a:bodyPr>
          <a:lstStyle/>
          <a:p>
            <a:r>
              <a:rPr lang="de-DE" noProof="0"/>
              <a:t>Slide title (max. 2 </a:t>
            </a:r>
            <a:r>
              <a:rPr lang="de-DE" noProof="0" err="1"/>
              <a:t>lines</a:t>
            </a:r>
            <a:r>
              <a:rPr lang="de-DE" noProof="0"/>
              <a:t>) </a:t>
            </a:r>
          </a:p>
        </p:txBody>
      </p:sp>
      <p:sp>
        <p:nvSpPr>
          <p:cNvPr id="3" name="Textplatzhalter 2"/>
          <p:cNvSpPr>
            <a:spLocks noGrp="1"/>
          </p:cNvSpPr>
          <p:nvPr>
            <p:ph type="body" idx="1"/>
          </p:nvPr>
        </p:nvSpPr>
        <p:spPr bwMode="gray">
          <a:xfrm>
            <a:off x="1092200" y="2312876"/>
            <a:ext cx="10007600" cy="3745024"/>
          </a:xfrm>
          <a:prstGeom prst="rect">
            <a:avLst/>
          </a:prstGeom>
        </p:spPr>
        <p:txBody>
          <a:bodyPr vert="horz" lIns="0" tIns="0" rIns="0" bIns="0" rtlCol="0">
            <a:normAutofit/>
          </a:bodyPr>
          <a:lstStyle/>
          <a:p>
            <a:pPr lvl="0"/>
            <a:r>
              <a:rPr lang="de-DE" noProof="0" err="1"/>
              <a:t>You</a:t>
            </a:r>
            <a:r>
              <a:rPr lang="de-DE" noProof="0"/>
              <a:t> </a:t>
            </a:r>
            <a:r>
              <a:rPr lang="de-DE" noProof="0" err="1"/>
              <a:t>can</a:t>
            </a:r>
            <a:r>
              <a:rPr lang="de-DE" noProof="0"/>
              <a:t> </a:t>
            </a:r>
            <a:r>
              <a:rPr lang="de-DE" noProof="0" err="1"/>
              <a:t>use</a:t>
            </a:r>
            <a:r>
              <a:rPr lang="de-DE" noProof="0"/>
              <a:t>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 a </a:t>
            </a:r>
            <a:r>
              <a:rPr lang="de-DE" noProof="0" err="1"/>
              <a:t>table</a:t>
            </a:r>
            <a:r>
              <a:rPr lang="de-DE" noProof="0"/>
              <a:t>, a </a:t>
            </a:r>
            <a:r>
              <a:rPr lang="de-DE" noProof="0" err="1"/>
              <a:t>diagram</a:t>
            </a:r>
            <a:r>
              <a:rPr lang="de-DE" noProof="0"/>
              <a:t> </a:t>
            </a:r>
            <a:r>
              <a:rPr lang="de-DE" noProof="0" err="1"/>
              <a:t>or</a:t>
            </a:r>
            <a:r>
              <a:rPr lang="de-DE" noProof="0"/>
              <a:t> </a:t>
            </a:r>
            <a:r>
              <a:rPr lang="de-DE" noProof="0" err="1"/>
              <a:t>SmartArts</a:t>
            </a:r>
            <a:r>
              <a:rPr lang="de-DE" noProof="0"/>
              <a:t>. Use </a:t>
            </a:r>
            <a:r>
              <a:rPr lang="de-DE" noProof="0" err="1"/>
              <a:t>the</a:t>
            </a:r>
            <a:r>
              <a:rPr lang="de-DE" noProof="0"/>
              <a:t> </a:t>
            </a:r>
            <a:r>
              <a:rPr lang="de-DE" noProof="0" err="1"/>
              <a:t>buttons</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for</a:t>
            </a:r>
            <a:r>
              <a:rPr lang="de-DE" noProof="0"/>
              <a:t> </a:t>
            </a:r>
            <a:r>
              <a:rPr lang="de-DE" noProof="0" err="1"/>
              <a:t>copytext</a:t>
            </a:r>
            <a:r>
              <a:rPr lang="de-DE" noProof="0"/>
              <a:t> </a:t>
            </a:r>
            <a:r>
              <a:rPr lang="de-DE" noProof="0" err="1"/>
              <a:t>or</a:t>
            </a:r>
            <a:r>
              <a:rPr lang="de-DE" noProof="0"/>
              <a:t> </a:t>
            </a:r>
            <a:r>
              <a:rPr lang="de-DE" noProof="0" err="1"/>
              <a:t>bullet</a:t>
            </a:r>
            <a:r>
              <a:rPr lang="de-DE" noProof="0"/>
              <a:t> </a:t>
            </a:r>
            <a:r>
              <a:rPr lang="de-DE" noProof="0" err="1"/>
              <a:t>levels</a:t>
            </a:r>
            <a:r>
              <a:rPr lang="de-DE" noProof="0"/>
              <a:t>. Use </a:t>
            </a:r>
            <a:r>
              <a:rPr lang="de-DE" noProof="0" err="1"/>
              <a:t>the</a:t>
            </a:r>
            <a:r>
              <a:rPr lang="de-DE" noProof="0"/>
              <a:t> </a:t>
            </a:r>
            <a:r>
              <a:rPr lang="de-DE" noProof="0" err="1"/>
              <a:t>icons</a:t>
            </a:r>
            <a:r>
              <a:rPr lang="de-DE" noProof="0"/>
              <a:t> </a:t>
            </a:r>
            <a:r>
              <a:rPr lang="de-DE" noProof="0" err="1"/>
              <a:t>below</a:t>
            </a:r>
            <a:r>
              <a:rPr lang="de-DE" noProof="0"/>
              <a:t> </a:t>
            </a:r>
            <a:r>
              <a:rPr lang="de-DE" noProof="0" err="1"/>
              <a:t>to</a:t>
            </a:r>
            <a:r>
              <a:rPr lang="de-DE" noProof="0"/>
              <a:t> </a:t>
            </a:r>
            <a:r>
              <a:rPr lang="de-DE" noProof="0" err="1"/>
              <a:t>create</a:t>
            </a:r>
            <a:r>
              <a:rPr lang="de-DE" noProof="0"/>
              <a:t> </a:t>
            </a:r>
            <a:r>
              <a:rPr lang="de-DE" noProof="0" err="1"/>
              <a:t>visual</a:t>
            </a:r>
            <a:r>
              <a:rPr lang="de-DE" noProof="0"/>
              <a:t> </a:t>
            </a:r>
            <a:r>
              <a:rPr lang="de-DE" noProof="0" err="1"/>
              <a:t>conten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5" name="Fußzeilenplatzhalter 4"/>
          <p:cNvSpPr>
            <a:spLocks noGrp="1"/>
          </p:cNvSpPr>
          <p:nvPr>
            <p:ph type="ftr" sz="quarter" idx="3"/>
          </p:nvPr>
        </p:nvSpPr>
        <p:spPr bwMode="gray">
          <a:xfrm>
            <a:off x="1092201" y="6417356"/>
            <a:ext cx="4895850" cy="216000"/>
          </a:xfrm>
          <a:prstGeom prst="rect">
            <a:avLst/>
          </a:prstGeom>
        </p:spPr>
        <p:txBody>
          <a:bodyPr vert="horz" lIns="0" tIns="0" rIns="0" bIns="46800" rtlCol="0" anchor="b">
            <a:noAutofit/>
          </a:bodyPr>
          <a:lstStyle>
            <a:lvl1pPr algn="l">
              <a:defRPr sz="750">
                <a:solidFill>
                  <a:srgbClr val="9BA4BF"/>
                </a:solidFill>
                <a:latin typeface="+mn-lt"/>
              </a:defRPr>
            </a:lvl1pPr>
          </a:lstStyle>
          <a:p>
            <a:r>
              <a:rPr lang="de-DE"/>
              <a:t>Date dd.mm.yyyy  |  Security label</a:t>
            </a:r>
          </a:p>
        </p:txBody>
      </p:sp>
      <p:grpSp>
        <p:nvGrpSpPr>
          <p:cNvPr id="26" name="Gruppieren 25"/>
          <p:cNvGrpSpPr/>
          <p:nvPr/>
        </p:nvGrpSpPr>
        <p:grpSpPr bwMode="gray">
          <a:xfrm>
            <a:off x="1091444" y="-243408"/>
            <a:ext cx="10009112" cy="72000"/>
            <a:chOff x="1091444" y="-1395536"/>
            <a:chExt cx="10009112" cy="936104"/>
          </a:xfrm>
        </p:grpSpPr>
        <p:cxnSp>
          <p:nvCxnSpPr>
            <p:cNvPr id="16" name="Gerader Verbinder 15"/>
            <p:cNvCxnSpPr/>
            <p:nvPr userDrawn="1"/>
          </p:nvCxnSpPr>
          <p:spPr bwMode="gray">
            <a:xfrm>
              <a:off x="1091444"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332369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368373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591598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609600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userDrawn="1"/>
          </p:nvCxnSpPr>
          <p:spPr bwMode="gray">
            <a:xfrm>
              <a:off x="627602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userDrawn="1"/>
          </p:nvCxnSpPr>
          <p:spPr bwMode="gray">
            <a:xfrm>
              <a:off x="850826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userDrawn="1"/>
          </p:nvCxnSpPr>
          <p:spPr bwMode="gray">
            <a:xfrm>
              <a:off x="886830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11100556"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9" name="Gruppieren 28"/>
          <p:cNvGrpSpPr/>
          <p:nvPr/>
        </p:nvGrpSpPr>
        <p:grpSpPr bwMode="gray">
          <a:xfrm>
            <a:off x="-240696" y="908720"/>
            <a:ext cx="72000" cy="5148572"/>
            <a:chOff x="-1320824" y="908720"/>
            <a:chExt cx="936104" cy="5148572"/>
          </a:xfrm>
        </p:grpSpPr>
        <p:cxnSp>
          <p:nvCxnSpPr>
            <p:cNvPr id="25" name="Gerader Verbinder 24"/>
            <p:cNvCxnSpPr>
              <a:cxnSpLocks/>
            </p:cNvCxnSpPr>
            <p:nvPr userDrawn="1"/>
          </p:nvCxnSpPr>
          <p:spPr bwMode="gray">
            <a:xfrm rot="5400000">
              <a:off x="-852772" y="1844824"/>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a:cxnSpLocks/>
            </p:cNvCxnSpPr>
            <p:nvPr userDrawn="1"/>
          </p:nvCxnSpPr>
          <p:spPr bwMode="gray">
            <a:xfrm rot="5400000">
              <a:off x="-852772" y="440668"/>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a:cxnSpLocks/>
            </p:cNvCxnSpPr>
            <p:nvPr userDrawn="1"/>
          </p:nvCxnSpPr>
          <p:spPr bwMode="gray">
            <a:xfrm rot="5400000">
              <a:off x="-852772" y="5589240"/>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88" name="Slide Number Placeholder 487">
            <a:extLst>
              <a:ext uri="{FF2B5EF4-FFF2-40B4-BE49-F238E27FC236}">
                <a16:creationId xmlns:a16="http://schemas.microsoft.com/office/drawing/2014/main" id="{1A39904C-E48C-2F2D-AC1F-52E9BD6534E7}"/>
              </a:ext>
            </a:extLst>
          </p:cNvPr>
          <p:cNvSpPr>
            <a:spLocks noGrp="1"/>
          </p:cNvSpPr>
          <p:nvPr>
            <p:ph type="sldNum" sz="quarter" idx="4"/>
          </p:nvPr>
        </p:nvSpPr>
        <p:spPr bwMode="gray">
          <a:xfrm>
            <a:off x="11526329" y="6198777"/>
            <a:ext cx="665672" cy="659223"/>
          </a:xfrm>
          <a:custGeom>
            <a:avLst/>
            <a:gdLst>
              <a:gd name="connsiteX0" fmla="*/ 393815 w 665672"/>
              <a:gd name="connsiteY0" fmla="*/ 145 h 659223"/>
              <a:gd name="connsiteX1" fmla="*/ 458876 w 665672"/>
              <a:gd name="connsiteY1" fmla="*/ 24763 h 659223"/>
              <a:gd name="connsiteX2" fmla="*/ 552955 w 665672"/>
              <a:gd name="connsiteY2" fmla="*/ 77751 h 659223"/>
              <a:gd name="connsiteX3" fmla="*/ 665672 w 665672"/>
              <a:gd name="connsiteY3" fmla="*/ 141387 h 659223"/>
              <a:gd name="connsiteX4" fmla="*/ 665672 w 665672"/>
              <a:gd name="connsiteY4" fmla="*/ 659223 h 659223"/>
              <a:gd name="connsiteX5" fmla="*/ 264886 w 665672"/>
              <a:gd name="connsiteY5" fmla="*/ 659223 h 659223"/>
              <a:gd name="connsiteX6" fmla="*/ 204788 w 665672"/>
              <a:gd name="connsiteY6" fmla="*/ 626011 h 659223"/>
              <a:gd name="connsiteX7" fmla="*/ 7881 w 665672"/>
              <a:gd name="connsiteY7" fmla="*/ 285012 h 659223"/>
              <a:gd name="connsiteX8" fmla="*/ 29436 w 665672"/>
              <a:gd name="connsiteY8" fmla="*/ 204770 h 659223"/>
              <a:gd name="connsiteX9" fmla="*/ 370503 w 665672"/>
              <a:gd name="connsiteY9" fmla="*/ 7903 h 659223"/>
              <a:gd name="connsiteX10" fmla="*/ 393815 w 665672"/>
              <a:gd name="connsiteY10" fmla="*/ 145 h 659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5672" h="659223">
                <a:moveTo>
                  <a:pt x="393815" y="145"/>
                </a:moveTo>
                <a:cubicBezTo>
                  <a:pt x="416821" y="-1596"/>
                  <a:pt x="438811" y="12689"/>
                  <a:pt x="458876" y="24763"/>
                </a:cubicBezTo>
                <a:cubicBezTo>
                  <a:pt x="490320" y="42257"/>
                  <a:pt x="521638" y="60004"/>
                  <a:pt x="552955" y="77751"/>
                </a:cubicBezTo>
                <a:cubicBezTo>
                  <a:pt x="590485" y="98921"/>
                  <a:pt x="628142" y="120218"/>
                  <a:pt x="665672" y="141387"/>
                </a:cubicBezTo>
                <a:lnTo>
                  <a:pt x="665672" y="659223"/>
                </a:lnTo>
                <a:lnTo>
                  <a:pt x="264886" y="659223"/>
                </a:lnTo>
                <a:cubicBezTo>
                  <a:pt x="241556" y="654152"/>
                  <a:pt x="217467" y="649335"/>
                  <a:pt x="204788" y="626011"/>
                </a:cubicBezTo>
                <a:lnTo>
                  <a:pt x="7881" y="285012"/>
                </a:lnTo>
                <a:cubicBezTo>
                  <a:pt x="-8348" y="256870"/>
                  <a:pt x="1288" y="220996"/>
                  <a:pt x="29436" y="204770"/>
                </a:cubicBezTo>
                <a:cubicBezTo>
                  <a:pt x="29436" y="204770"/>
                  <a:pt x="370503" y="7903"/>
                  <a:pt x="370503" y="7903"/>
                </a:cubicBezTo>
                <a:cubicBezTo>
                  <a:pt x="378364" y="3086"/>
                  <a:pt x="386146" y="725"/>
                  <a:pt x="393815" y="145"/>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100">
                <a:solidFill>
                  <a:schemeClr val="bg1"/>
                </a:solidFill>
                <a:latin typeface="Barlow Black" panose="00000A00000000000000" pitchFamily="2" charset="0"/>
              </a:defRPr>
            </a:lvl1pPr>
          </a:lstStyle>
          <a:p>
            <a:fld id="{44661A95-0089-4306-9485-D330C59FE3ED}" type="slidenum">
              <a:rPr lang="de-DE" smtClean="0"/>
              <a:pPr/>
              <a:t>‹#›</a:t>
            </a:fld>
            <a:endParaRPr lang="de-DE"/>
          </a:p>
        </p:txBody>
      </p:sp>
      <p:sp>
        <p:nvSpPr>
          <p:cNvPr id="460" name="Freihandform: Form 459">
            <a:extLst>
              <a:ext uri="{FF2B5EF4-FFF2-40B4-BE49-F238E27FC236}">
                <a16:creationId xmlns:a16="http://schemas.microsoft.com/office/drawing/2014/main" id="{AAC53D55-E73B-F50B-F031-098F41F76F60}"/>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4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9pPr>
          </a:lstStyle>
          <a:p>
            <a:r>
              <a:rPr lang="de-DE"/>
              <a:t> </a:t>
            </a:r>
          </a:p>
        </p:txBody>
      </p:sp>
      <p:sp>
        <p:nvSpPr>
          <p:cNvPr id="55" name="Rectangle 54">
            <a:extLst>
              <a:ext uri="{FF2B5EF4-FFF2-40B4-BE49-F238E27FC236}">
                <a16:creationId xmlns:a16="http://schemas.microsoft.com/office/drawing/2014/main" id="{1AB32761-2FEC-FD92-C3BD-EC3881859036}"/>
              </a:ext>
            </a:extLst>
          </p:cNvPr>
          <p:cNvSpPr/>
          <p:nvPr userDrawn="1"/>
        </p:nvSpPr>
        <p:spPr bwMode="gray">
          <a:xfrm>
            <a:off x="109144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6" name="Rectangle 55">
            <a:extLst>
              <a:ext uri="{FF2B5EF4-FFF2-40B4-BE49-F238E27FC236}">
                <a16:creationId xmlns:a16="http://schemas.microsoft.com/office/drawing/2014/main" id="{5208992C-AE65-1EBC-B6F5-9DEE6E1E5AA5}"/>
              </a:ext>
            </a:extLst>
          </p:cNvPr>
          <p:cNvSpPr/>
          <p:nvPr userDrawn="1"/>
        </p:nvSpPr>
        <p:spPr bwMode="gray">
          <a:xfrm>
            <a:off x="195560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7" name="Rectangle 56">
            <a:extLst>
              <a:ext uri="{FF2B5EF4-FFF2-40B4-BE49-F238E27FC236}">
                <a16:creationId xmlns:a16="http://schemas.microsoft.com/office/drawing/2014/main" id="{FFA3A4F6-C522-A8C6-D8A9-7FEEAC6B1FB3}"/>
              </a:ext>
            </a:extLst>
          </p:cNvPr>
          <p:cNvSpPr/>
          <p:nvPr userDrawn="1"/>
        </p:nvSpPr>
        <p:spPr bwMode="gray">
          <a:xfrm>
            <a:off x="281970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8" name="Rectangle 57">
            <a:extLst>
              <a:ext uri="{FF2B5EF4-FFF2-40B4-BE49-F238E27FC236}">
                <a16:creationId xmlns:a16="http://schemas.microsoft.com/office/drawing/2014/main" id="{20E51828-A600-B814-4D38-BA297AD4C4D4}"/>
              </a:ext>
            </a:extLst>
          </p:cNvPr>
          <p:cNvSpPr/>
          <p:nvPr userDrawn="1"/>
        </p:nvSpPr>
        <p:spPr bwMode="gray">
          <a:xfrm>
            <a:off x="368379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9" name="Rectangle 58">
            <a:extLst>
              <a:ext uri="{FF2B5EF4-FFF2-40B4-BE49-F238E27FC236}">
                <a16:creationId xmlns:a16="http://schemas.microsoft.com/office/drawing/2014/main" id="{1A5B4EC1-6B8C-715B-6139-A51EE96DED17}"/>
              </a:ext>
            </a:extLst>
          </p:cNvPr>
          <p:cNvSpPr/>
          <p:nvPr userDrawn="1"/>
        </p:nvSpPr>
        <p:spPr bwMode="gray">
          <a:xfrm>
            <a:off x="454789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0" name="Rectangle 59">
            <a:extLst>
              <a:ext uri="{FF2B5EF4-FFF2-40B4-BE49-F238E27FC236}">
                <a16:creationId xmlns:a16="http://schemas.microsoft.com/office/drawing/2014/main" id="{2174E1B8-EA62-1AE6-1DA9-E6432FA037E6}"/>
              </a:ext>
            </a:extLst>
          </p:cNvPr>
          <p:cNvSpPr/>
          <p:nvPr userDrawn="1"/>
        </p:nvSpPr>
        <p:spPr bwMode="gray">
          <a:xfrm>
            <a:off x="541198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1" name="Rectangle 60">
            <a:extLst>
              <a:ext uri="{FF2B5EF4-FFF2-40B4-BE49-F238E27FC236}">
                <a16:creationId xmlns:a16="http://schemas.microsoft.com/office/drawing/2014/main" id="{D4A9A57D-0A3C-834D-D895-C1748A9CB61E}"/>
              </a:ext>
            </a:extLst>
          </p:cNvPr>
          <p:cNvSpPr/>
          <p:nvPr userDrawn="1"/>
        </p:nvSpPr>
        <p:spPr bwMode="gray">
          <a:xfrm>
            <a:off x="627608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2" name="Rectangle 61">
            <a:extLst>
              <a:ext uri="{FF2B5EF4-FFF2-40B4-BE49-F238E27FC236}">
                <a16:creationId xmlns:a16="http://schemas.microsoft.com/office/drawing/2014/main" id="{1BE0769C-74AD-29A1-CBB9-A2CC842518CE}"/>
              </a:ext>
            </a:extLst>
          </p:cNvPr>
          <p:cNvSpPr/>
          <p:nvPr userDrawn="1"/>
        </p:nvSpPr>
        <p:spPr bwMode="gray">
          <a:xfrm>
            <a:off x="714018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3" name="Rectangle 62">
            <a:extLst>
              <a:ext uri="{FF2B5EF4-FFF2-40B4-BE49-F238E27FC236}">
                <a16:creationId xmlns:a16="http://schemas.microsoft.com/office/drawing/2014/main" id="{941B619C-2B91-9A66-AC73-6C6F7EA37B89}"/>
              </a:ext>
            </a:extLst>
          </p:cNvPr>
          <p:cNvSpPr/>
          <p:nvPr userDrawn="1"/>
        </p:nvSpPr>
        <p:spPr bwMode="gray">
          <a:xfrm>
            <a:off x="800427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8" name="Rectangle 447">
            <a:extLst>
              <a:ext uri="{FF2B5EF4-FFF2-40B4-BE49-F238E27FC236}">
                <a16:creationId xmlns:a16="http://schemas.microsoft.com/office/drawing/2014/main" id="{495F7236-C570-91D3-2DCF-1CA178076DC9}"/>
              </a:ext>
            </a:extLst>
          </p:cNvPr>
          <p:cNvSpPr/>
          <p:nvPr userDrawn="1"/>
        </p:nvSpPr>
        <p:spPr bwMode="gray">
          <a:xfrm>
            <a:off x="886837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9" name="Rectangle 448">
            <a:extLst>
              <a:ext uri="{FF2B5EF4-FFF2-40B4-BE49-F238E27FC236}">
                <a16:creationId xmlns:a16="http://schemas.microsoft.com/office/drawing/2014/main" id="{3DE6BC66-9F57-6740-E36C-76946E33D903}"/>
              </a:ext>
            </a:extLst>
          </p:cNvPr>
          <p:cNvSpPr/>
          <p:nvPr userDrawn="1"/>
        </p:nvSpPr>
        <p:spPr bwMode="gray">
          <a:xfrm>
            <a:off x="973246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50" name="Rectangle 449">
            <a:extLst>
              <a:ext uri="{FF2B5EF4-FFF2-40B4-BE49-F238E27FC236}">
                <a16:creationId xmlns:a16="http://schemas.microsoft.com/office/drawing/2014/main" id="{388DC935-3E09-C95E-8F1A-B874377E54E6}"/>
              </a:ext>
            </a:extLst>
          </p:cNvPr>
          <p:cNvSpPr/>
          <p:nvPr userDrawn="1"/>
        </p:nvSpPr>
        <p:spPr bwMode="gray">
          <a:xfrm>
            <a:off x="1059656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Tree>
    <p:extLst>
      <p:ext uri="{BB962C8B-B14F-4D97-AF65-F5344CB8AC3E}">
        <p14:creationId xmlns:p14="http://schemas.microsoft.com/office/powerpoint/2010/main" val="2034006992"/>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67" r:id="rId3"/>
    <p:sldLayoutId id="2147483666" r:id="rId4"/>
    <p:sldLayoutId id="2147483672" r:id="rId5"/>
    <p:sldLayoutId id="2147483692" r:id="rId6"/>
    <p:sldLayoutId id="2147483693" r:id="rId7"/>
    <p:sldLayoutId id="2147483694" r:id="rId8"/>
    <p:sldLayoutId id="2147483695" r:id="rId9"/>
    <p:sldLayoutId id="2147483696" r:id="rId10"/>
    <p:sldLayoutId id="2147483697" r:id="rId11"/>
    <p:sldLayoutId id="2147483650" r:id="rId12"/>
    <p:sldLayoutId id="2147483691" r:id="rId13"/>
    <p:sldLayoutId id="2147483652" r:id="rId14"/>
    <p:sldLayoutId id="2147483660" r:id="rId15"/>
    <p:sldLayoutId id="2147483654" r:id="rId16"/>
    <p:sldLayoutId id="2147483655" r:id="rId17"/>
    <p:sldLayoutId id="2147483659" r:id="rId18"/>
    <p:sldLayoutId id="2147483681" r:id="rId19"/>
    <p:sldLayoutId id="2147483658" r:id="rId20"/>
    <p:sldLayoutId id="2147483670" r:id="rId21"/>
    <p:sldLayoutId id="2147483680" r:id="rId22"/>
    <p:sldLayoutId id="2147483669" r:id="rId23"/>
    <p:sldLayoutId id="2147483683" r:id="rId24"/>
    <p:sldLayoutId id="2147483684" r:id="rId25"/>
    <p:sldLayoutId id="2147483686" r:id="rId26"/>
    <p:sldLayoutId id="2147483656" r:id="rId27"/>
    <p:sldLayoutId id="2147483657" r:id="rId28"/>
    <p:sldLayoutId id="2147483664" r:id="rId29"/>
    <p:sldLayoutId id="2147483675" r:id="rId30"/>
    <p:sldLayoutId id="2147483685" r:id="rId31"/>
    <p:sldLayoutId id="2147483679" r:id="rId32"/>
    <p:sldLayoutId id="2147483688" r:id="rId33"/>
    <p:sldLayoutId id="2147483689" r:id="rId34"/>
    <p:sldLayoutId id="2147483690" r:id="rId35"/>
    <p:sldLayoutId id="2147483687" r:id="rId36"/>
    <p:sldLayoutId id="2147483677" r:id="rId37"/>
  </p:sldLayoutIdLst>
  <p:hf hdr="0" dt="0"/>
  <p:txStyles>
    <p:titleStyle>
      <a:lvl1pPr marL="0" indent="0" algn="l" defTabSz="914400" rtl="0" eaLnBrk="1" latinLnBrk="0" hangingPunct="1">
        <a:lnSpc>
          <a:spcPct val="95000"/>
        </a:lnSpc>
        <a:spcBef>
          <a:spcPct val="0"/>
        </a:spcBef>
        <a:buFont typeface="Yanone Kaffeesatz" panose="00000500000000000000" pitchFamily="50" charset="0"/>
        <a:buNone/>
        <a:defRPr sz="3700" b="1" i="1" kern="1200" cap="none" baseline="0">
          <a:solidFill>
            <a:schemeClr val="tx1"/>
          </a:solidFill>
          <a:latin typeface="Barlow ExtraBold" pitchFamily="2" charset="77"/>
          <a:ea typeface="+mj-ea"/>
          <a:cs typeface="+mj-cs"/>
        </a:defRPr>
      </a:lvl1pPr>
    </p:titleStyle>
    <p:body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9pPr>
    </p:bodyStyle>
    <p:otherStyle>
      <a:defPPr>
        <a:defRPr lang="de-DE"/>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88" userDrawn="1">
          <p15:clr>
            <a:srgbClr val="FBAE40"/>
          </p15:clr>
        </p15:guide>
        <p15:guide id="2" pos="6992" userDrawn="1">
          <p15:clr>
            <a:srgbClr val="FBAE40"/>
          </p15:clr>
        </p15:guide>
        <p15:guide id="3" orient="horz" pos="1457" userDrawn="1">
          <p15:clr>
            <a:srgbClr val="FBAE40"/>
          </p15:clr>
        </p15:guide>
        <p15:guide id="4" orient="horz" pos="3816" userDrawn="1">
          <p15:clr>
            <a:srgbClr val="FBAE40"/>
          </p15:clr>
        </p15:guide>
        <p15:guide id="5" orient="horz" pos="572" userDrawn="1">
          <p15:clr>
            <a:srgbClr val="A4A3A4"/>
          </p15:clr>
        </p15:guide>
        <p15:guide id="16" orient="horz" pos="1026"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9.xml"/><Relationship Id="rId1" Type="http://schemas.openxmlformats.org/officeDocument/2006/relationships/slideLayout" Target="../slideLayouts/slideLayout18.xml"/><Relationship Id="rId5" Type="http://schemas.openxmlformats.org/officeDocument/2006/relationships/image" Target="../media/image15.png"/><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0.xml"/><Relationship Id="rId1" Type="http://schemas.openxmlformats.org/officeDocument/2006/relationships/slideLayout" Target="../slideLayouts/slideLayout18.xml"/><Relationship Id="rId5" Type="http://schemas.openxmlformats.org/officeDocument/2006/relationships/image" Target="../media/image17.png"/><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2.xml"/><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4.png"/><Relationship Id="rId1" Type="http://schemas.openxmlformats.org/officeDocument/2006/relationships/slideLayout" Target="../slideLayouts/slideLayout12.xml"/><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png"/><Relationship Id="rId1" Type="http://schemas.openxmlformats.org/officeDocument/2006/relationships/slideLayout" Target="../slideLayouts/slideLayout12.xml"/><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4.png"/><Relationship Id="rId1" Type="http://schemas.openxmlformats.org/officeDocument/2006/relationships/slideLayout" Target="../slideLayouts/slideLayout18.xml"/><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2.png"/><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png"/><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png"/><Relationship Id="rId1" Type="http://schemas.openxmlformats.org/officeDocument/2006/relationships/slideLayout" Target="../slideLayouts/slideLayout19.xml"/><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png"/><Relationship Id="rId1" Type="http://schemas.openxmlformats.org/officeDocument/2006/relationships/slideLayout" Target="../slideLayouts/slideLayout14.xml"/><Relationship Id="rId4" Type="http://schemas.openxmlformats.org/officeDocument/2006/relationships/image" Target="../media/image3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png"/><Relationship Id="rId1" Type="http://schemas.openxmlformats.org/officeDocument/2006/relationships/slideLayout" Target="../slideLayouts/slideLayout14.xml"/><Relationship Id="rId4" Type="http://schemas.openxmlformats.org/officeDocument/2006/relationships/image" Target="../media/image41.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8.xml"/><Relationship Id="rId5" Type="http://schemas.openxmlformats.org/officeDocument/2006/relationships/image" Target="../media/image1.emf"/><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1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8.xml"/><Relationship Id="rId1" Type="http://schemas.openxmlformats.org/officeDocument/2006/relationships/slideLayout" Target="../slideLayouts/slideLayout18.xml"/><Relationship Id="rId5" Type="http://schemas.openxmlformats.org/officeDocument/2006/relationships/image" Target="../media/image13.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2220E2-9567-C092-AE5E-DCB601C09F9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CE744B1-FDFE-A2DB-21C7-69B8546469A6}"/>
              </a:ext>
            </a:extLst>
          </p:cNvPr>
          <p:cNvSpPr>
            <a:spLocks noGrp="1"/>
          </p:cNvSpPr>
          <p:nvPr>
            <p:ph type="body" sz="quarter" idx="12"/>
          </p:nvPr>
        </p:nvSpPr>
        <p:spPr>
          <a:xfrm>
            <a:off x="1092201" y="2168252"/>
            <a:ext cx="8290858" cy="3910208"/>
          </a:xfrm>
        </p:spPr>
        <p:txBody>
          <a:bodyPr vert="horz" lIns="0" tIns="0" rIns="0" bIns="0" rtlCol="0" anchor="t">
            <a:normAutofit/>
          </a:bodyPr>
          <a:lstStyle/>
          <a:p>
            <a:pPr marL="571500" indent="-571500">
              <a:buFont typeface="Calibri" panose="020B0604020202020204" pitchFamily="34" charset="0"/>
              <a:buChar char="-"/>
            </a:pPr>
            <a:r>
              <a:rPr lang="en-US" sz="2400" b="0" dirty="0"/>
              <a:t>We recommend </a:t>
            </a:r>
            <a:r>
              <a:rPr lang="en-US" sz="2400" dirty="0"/>
              <a:t>customizing this deck</a:t>
            </a:r>
            <a:r>
              <a:rPr lang="en-US" sz="2400" b="0" dirty="0"/>
              <a:t> before using this presentation. The format (PPT) is editable so that you can add screenshots and notes about processes that are </a:t>
            </a:r>
            <a:r>
              <a:rPr lang="en-US" sz="2400" dirty="0"/>
              <a:t>specific to your own organization</a:t>
            </a:r>
            <a:endParaRPr lang="en-US" dirty="0"/>
          </a:p>
          <a:p>
            <a:endParaRPr lang="en-US" sz="2400" dirty="0"/>
          </a:p>
          <a:p>
            <a:pPr marL="571500" indent="-571500">
              <a:buFont typeface="Calibri" panose="020B0604020202020204" pitchFamily="34" charset="0"/>
              <a:buChar char="-"/>
            </a:pPr>
            <a:r>
              <a:rPr lang="en-US" sz="2400" dirty="0"/>
              <a:t>Intended audience</a:t>
            </a:r>
            <a:r>
              <a:rPr lang="en-US" sz="2400" b="0" dirty="0"/>
              <a:t>: The people in your organization who will be </a:t>
            </a:r>
            <a:r>
              <a:rPr lang="en-US" sz="2400" dirty="0"/>
              <a:t>creating, reviewing, publishing and managing the policies management process</a:t>
            </a:r>
            <a:r>
              <a:rPr lang="en-US" sz="2400" b="0" dirty="0"/>
              <a:t>. </a:t>
            </a:r>
          </a:p>
          <a:p>
            <a:pPr marL="1028700" lvl="3" indent="-571500">
              <a:buClr>
                <a:srgbClr val="E90055"/>
              </a:buClr>
              <a:buFont typeface="Calibri" panose="020B0604020202020204" pitchFamily="34" charset="0"/>
              <a:buChar char="-"/>
            </a:pPr>
            <a:r>
              <a:rPr lang="en-US" sz="2400" b="0" cap="none" dirty="0">
                <a:latin typeface="Barlow"/>
              </a:rPr>
              <a:t>This is likely to include members of your Ethics &amp; Compliance team</a:t>
            </a:r>
            <a:endParaRPr lang="en-US" sz="2400" b="0" dirty="0"/>
          </a:p>
        </p:txBody>
      </p:sp>
      <p:sp>
        <p:nvSpPr>
          <p:cNvPr id="3" name="Title 2">
            <a:extLst>
              <a:ext uri="{FF2B5EF4-FFF2-40B4-BE49-F238E27FC236}">
                <a16:creationId xmlns:a16="http://schemas.microsoft.com/office/drawing/2014/main" id="{5C572DF6-DEB2-1146-2B89-52933967D49F}"/>
              </a:ext>
            </a:extLst>
          </p:cNvPr>
          <p:cNvSpPr>
            <a:spLocks noGrp="1"/>
          </p:cNvSpPr>
          <p:nvPr>
            <p:ph type="title"/>
          </p:nvPr>
        </p:nvSpPr>
        <p:spPr/>
        <p:txBody>
          <a:bodyPr>
            <a:normAutofit fontScale="90000"/>
          </a:bodyPr>
          <a:lstStyle/>
          <a:p>
            <a:r>
              <a:rPr lang="en-US">
                <a:latin typeface="Barlow ExtraBold"/>
              </a:rPr>
              <a:t>Recommendations for using this training presentation</a:t>
            </a:r>
            <a:endParaRPr lang="en-US"/>
          </a:p>
        </p:txBody>
      </p:sp>
      <p:sp>
        <p:nvSpPr>
          <p:cNvPr id="4" name="Footer Placeholder 3">
            <a:extLst>
              <a:ext uri="{FF2B5EF4-FFF2-40B4-BE49-F238E27FC236}">
                <a16:creationId xmlns:a16="http://schemas.microsoft.com/office/drawing/2014/main" id="{34633CA9-E406-5F37-C167-34283165481B}"/>
              </a:ext>
            </a:extLst>
          </p:cNvPr>
          <p:cNvSpPr>
            <a:spLocks noGrp="1"/>
          </p:cNvSpPr>
          <p:nvPr>
            <p:ph type="ftr" sz="quarter" idx="19"/>
          </p:nvPr>
        </p:nvSpPr>
        <p:spPr/>
        <p:txBody>
          <a:bodyPr/>
          <a:lstStyle/>
          <a:p>
            <a:r>
              <a:rPr lang="de-DE"/>
              <a:t>Date dd.mm.yyyy  |  Security label</a:t>
            </a:r>
          </a:p>
        </p:txBody>
      </p:sp>
      <p:sp>
        <p:nvSpPr>
          <p:cNvPr id="5" name="Slide Number Placeholder 4">
            <a:extLst>
              <a:ext uri="{FF2B5EF4-FFF2-40B4-BE49-F238E27FC236}">
                <a16:creationId xmlns:a16="http://schemas.microsoft.com/office/drawing/2014/main" id="{9E515779-3A39-2250-13D8-A3C572CE606D}"/>
              </a:ext>
            </a:extLst>
          </p:cNvPr>
          <p:cNvSpPr>
            <a:spLocks noGrp="1"/>
          </p:cNvSpPr>
          <p:nvPr>
            <p:ph type="sldNum" sz="quarter" idx="20"/>
          </p:nvPr>
        </p:nvSpPr>
        <p:spPr/>
        <p:txBody>
          <a:bodyPr/>
          <a:lstStyle/>
          <a:p>
            <a:fld id="{44661A95-0089-4306-9485-D330C59FE3ED}" type="slidenum">
              <a:rPr lang="de-DE" smtClean="0"/>
              <a:pPr/>
              <a:t>1</a:t>
            </a:fld>
            <a:endParaRPr lang="de-DE"/>
          </a:p>
        </p:txBody>
      </p:sp>
      <p:sp>
        <p:nvSpPr>
          <p:cNvPr id="6" name="TextBox 5">
            <a:extLst>
              <a:ext uri="{FF2B5EF4-FFF2-40B4-BE49-F238E27FC236}">
                <a16:creationId xmlns:a16="http://schemas.microsoft.com/office/drawing/2014/main" id="{846809A6-59A6-7C08-683A-602B013F80DA}"/>
              </a:ext>
            </a:extLst>
          </p:cNvPr>
          <p:cNvSpPr txBox="1"/>
          <p:nvPr/>
        </p:nvSpPr>
        <p:spPr bwMode="gray">
          <a:xfrm>
            <a:off x="9660397" y="1534587"/>
            <a:ext cx="2342416" cy="3475310"/>
          </a:xfrm>
          <a:prstGeom prst="rect">
            <a:avLst/>
          </a:prstGeom>
          <a:solidFill>
            <a:srgbClr val="FFFF00"/>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ct val="110000"/>
              </a:lnSpc>
              <a:spcAft>
                <a:spcPts val="600"/>
              </a:spcAft>
              <a:buClr>
                <a:schemeClr val="accent1"/>
              </a:buClr>
            </a:pPr>
            <a:endParaRPr lang="en-US" sz="2000"/>
          </a:p>
          <a:p>
            <a:pPr algn="ctr">
              <a:lnSpc>
                <a:spcPct val="110000"/>
              </a:lnSpc>
              <a:spcAft>
                <a:spcPts val="600"/>
              </a:spcAft>
            </a:pPr>
            <a:endParaRPr lang="en-US" sz="2000"/>
          </a:p>
          <a:p>
            <a:pPr algn="ctr">
              <a:lnSpc>
                <a:spcPct val="110000"/>
              </a:lnSpc>
              <a:spcAft>
                <a:spcPts val="600"/>
              </a:spcAft>
            </a:pPr>
            <a:endParaRPr lang="en-US" sz="2000"/>
          </a:p>
          <a:p>
            <a:pPr algn="ctr">
              <a:lnSpc>
                <a:spcPct val="110000"/>
              </a:lnSpc>
              <a:spcAft>
                <a:spcPts val="600"/>
              </a:spcAft>
            </a:pPr>
            <a:r>
              <a:rPr lang="en-US" sz="2000"/>
              <a:t>Delete this slide before sharing this presentation</a:t>
            </a:r>
            <a:endParaRPr lang="en-US"/>
          </a:p>
          <a:p>
            <a:pPr algn="ctr">
              <a:lnSpc>
                <a:spcPct val="110000"/>
              </a:lnSpc>
              <a:spcAft>
                <a:spcPts val="600"/>
              </a:spcAft>
            </a:pPr>
            <a:endParaRPr lang="en-US" sz="2000"/>
          </a:p>
          <a:p>
            <a:pPr algn="ctr">
              <a:lnSpc>
                <a:spcPct val="110000"/>
              </a:lnSpc>
              <a:spcAft>
                <a:spcPts val="600"/>
              </a:spcAft>
            </a:pPr>
            <a:endParaRPr lang="en-US" sz="2000"/>
          </a:p>
          <a:p>
            <a:pPr algn="ctr">
              <a:lnSpc>
                <a:spcPct val="110000"/>
              </a:lnSpc>
              <a:spcAft>
                <a:spcPts val="600"/>
              </a:spcAft>
            </a:pPr>
            <a:endParaRPr lang="en-US" sz="2000"/>
          </a:p>
        </p:txBody>
      </p:sp>
    </p:spTree>
    <p:extLst>
      <p:ext uri="{BB962C8B-B14F-4D97-AF65-F5344CB8AC3E}">
        <p14:creationId xmlns:p14="http://schemas.microsoft.com/office/powerpoint/2010/main" val="37206226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371EDD-BDE0-3EE5-36CF-355870D04DF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1247FA4-0F91-87FD-E610-511B12EEFBD4}"/>
              </a:ext>
            </a:extLst>
          </p:cNvPr>
          <p:cNvSpPr>
            <a:spLocks noGrp="1"/>
          </p:cNvSpPr>
          <p:nvPr>
            <p:ph type="title"/>
          </p:nvPr>
        </p:nvSpPr>
        <p:spPr bwMode="gray">
          <a:xfrm>
            <a:off x="1092200" y="789687"/>
            <a:ext cx="10007600" cy="604039"/>
          </a:xfrm>
        </p:spPr>
        <p:txBody>
          <a:bodyPr/>
          <a:lstStyle/>
          <a:p>
            <a:r>
              <a:rPr lang="en-US" b="0" i="0" dirty="0">
                <a:solidFill>
                  <a:srgbClr val="000000"/>
                </a:solidFill>
                <a:latin typeface="Barlow ExtraBold"/>
              </a:rPr>
              <a:t>Work in Progress tab</a:t>
            </a:r>
          </a:p>
        </p:txBody>
      </p:sp>
      <p:sp>
        <p:nvSpPr>
          <p:cNvPr id="7" name="Slide Number Placeholder 6">
            <a:extLst>
              <a:ext uri="{FF2B5EF4-FFF2-40B4-BE49-F238E27FC236}">
                <a16:creationId xmlns:a16="http://schemas.microsoft.com/office/drawing/2014/main" id="{C3735DA6-EE6E-005C-99E9-01116E12C9EA}"/>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0</a:t>
            </a:fld>
            <a:endParaRPr lang="en-US" noProof="0"/>
          </a:p>
        </p:txBody>
      </p:sp>
      <p:sp>
        <p:nvSpPr>
          <p:cNvPr id="5" name="Inhaltsplatzhalter 5">
            <a:extLst>
              <a:ext uri="{FF2B5EF4-FFF2-40B4-BE49-F238E27FC236}">
                <a16:creationId xmlns:a16="http://schemas.microsoft.com/office/drawing/2014/main" id="{0C03D4EA-E619-F3B0-4B41-5B3A43FCBE27}"/>
              </a:ext>
            </a:extLst>
          </p:cNvPr>
          <p:cNvSpPr txBox="1">
            <a:spLocks/>
          </p:cNvSpPr>
          <p:nvPr/>
        </p:nvSpPr>
        <p:spPr bwMode="gray">
          <a:xfrm>
            <a:off x="1092200" y="1839885"/>
            <a:ext cx="4481882" cy="4228427"/>
          </a:xfrm>
          <a:prstGeom prst="rect">
            <a:avLst/>
          </a:prstGeom>
        </p:spPr>
        <p:txBody>
          <a:bodyPr vert="horz" lIns="0" tIns="0" rIns="0" bIns="0" rtlCol="0" anchor="t">
            <a:noAutofit/>
          </a:bodyPr>
          <a:lstStyle>
            <a:defPPr>
              <a:defRPr lang="de-DE"/>
            </a:defPPr>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000" dirty="0">
                <a:ea typeface="+mn-lt"/>
                <a:cs typeface="+mn-lt"/>
              </a:rPr>
              <a:t>You will see a list of policies that you have access to,</a:t>
            </a:r>
            <a:r>
              <a:rPr lang="en-US" sz="2000" dirty="0"/>
              <a:t> with a status of ‘draft’, ‘approval pending,’ or ‘ready to publish’</a:t>
            </a:r>
            <a:r>
              <a:rPr lang="en-US" sz="2000" dirty="0">
                <a:ea typeface="+mn-lt"/>
                <a:cs typeface="+mn-lt"/>
              </a:rPr>
              <a:t> along with details such as the Status, distribution status and the attestation method.</a:t>
            </a:r>
            <a:endParaRPr lang="en-US" sz="2000" dirty="0"/>
          </a:p>
          <a:p>
            <a:pPr lvl="5"/>
            <a:r>
              <a:rPr lang="en-US" sz="2000" dirty="0">
                <a:ea typeface="+mn-lt"/>
                <a:cs typeface="+mn-lt"/>
              </a:rPr>
              <a:t>Click the ‘</a:t>
            </a:r>
            <a:r>
              <a:rPr lang="en-US" sz="2000" b="1" dirty="0">
                <a:ea typeface="+mn-lt"/>
                <a:cs typeface="+mn-lt"/>
              </a:rPr>
              <a:t>Filter’</a:t>
            </a:r>
            <a:r>
              <a:rPr lang="en-US" sz="2000" dirty="0">
                <a:ea typeface="+mn-lt"/>
                <a:cs typeface="+mn-lt"/>
              </a:rPr>
              <a:t> icon in the top right to open the filter panel. We recommend using the </a:t>
            </a:r>
            <a:r>
              <a:rPr lang="en-US" sz="2000" i="1" dirty="0">
                <a:ea typeface="+mn-lt"/>
                <a:cs typeface="+mn-lt"/>
              </a:rPr>
              <a:t>Campaigns</a:t>
            </a:r>
            <a:r>
              <a:rPr lang="en-US" sz="2000" dirty="0">
                <a:ea typeface="+mn-lt"/>
                <a:cs typeface="+mn-lt"/>
              </a:rPr>
              <a:t> filter to quickly identify the Policies associated with a specific campaign. Click ‘</a:t>
            </a:r>
            <a:r>
              <a:rPr lang="en-US" sz="2000" b="1" dirty="0">
                <a:ea typeface="+mn-lt"/>
                <a:cs typeface="+mn-lt"/>
              </a:rPr>
              <a:t>See results’ </a:t>
            </a:r>
            <a:r>
              <a:rPr lang="en-US" sz="2000" dirty="0">
                <a:ea typeface="+mn-lt"/>
                <a:cs typeface="+mn-lt"/>
              </a:rPr>
              <a:t>to apply the filter.</a:t>
            </a:r>
            <a:endParaRPr lang="en-US" sz="2000" dirty="0"/>
          </a:p>
        </p:txBody>
      </p:sp>
      <p:pic>
        <p:nvPicPr>
          <p:cNvPr id="9" name="Picture 8">
            <a:extLst>
              <a:ext uri="{FF2B5EF4-FFF2-40B4-BE49-F238E27FC236}">
                <a16:creationId xmlns:a16="http://schemas.microsoft.com/office/drawing/2014/main" id="{C10277C8-59CC-A02F-AEFF-609F803A2355}"/>
              </a:ext>
            </a:extLst>
          </p:cNvPr>
          <p:cNvPicPr>
            <a:picLocks noChangeAspect="1"/>
          </p:cNvPicPr>
          <p:nvPr/>
        </p:nvPicPr>
        <p:blipFill>
          <a:blip r:embed="rId4"/>
          <a:srcRect l="1195" t="8641" r="1285" b="1422"/>
          <a:stretch>
            <a:fillRect/>
          </a:stretch>
        </p:blipFill>
        <p:spPr>
          <a:xfrm>
            <a:off x="6662056" y="1889047"/>
            <a:ext cx="3471335" cy="1539953"/>
          </a:xfrm>
          <a:prstGeom prst="rect">
            <a:avLst/>
          </a:prstGeom>
          <a:ln>
            <a:noFill/>
          </a:ln>
        </p:spPr>
      </p:pic>
      <p:pic>
        <p:nvPicPr>
          <p:cNvPr id="11" name="Picture 10">
            <a:extLst>
              <a:ext uri="{FF2B5EF4-FFF2-40B4-BE49-F238E27FC236}">
                <a16:creationId xmlns:a16="http://schemas.microsoft.com/office/drawing/2014/main" id="{326AE5DD-978F-4453-9A2D-7D1C7AD99168}"/>
              </a:ext>
            </a:extLst>
          </p:cNvPr>
          <p:cNvPicPr>
            <a:picLocks noChangeAspect="1"/>
          </p:cNvPicPr>
          <p:nvPr/>
        </p:nvPicPr>
        <p:blipFill>
          <a:blip r:embed="rId5"/>
          <a:srcRect/>
          <a:stretch/>
        </p:blipFill>
        <p:spPr>
          <a:xfrm>
            <a:off x="7400245" y="3577147"/>
            <a:ext cx="1994955" cy="2491165"/>
          </a:xfrm>
          <a:prstGeom prst="rect">
            <a:avLst/>
          </a:prstGeom>
          <a:ln>
            <a:noFill/>
          </a:ln>
        </p:spPr>
      </p:pic>
    </p:spTree>
    <p:extLst>
      <p:ext uri="{BB962C8B-B14F-4D97-AF65-F5344CB8AC3E}">
        <p14:creationId xmlns:p14="http://schemas.microsoft.com/office/powerpoint/2010/main" val="295019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1311E1-9D18-E0C2-DDBF-5616D3F8FDD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A9B1006-C823-1959-6D91-184B2937EF7F}"/>
              </a:ext>
            </a:extLst>
          </p:cNvPr>
          <p:cNvSpPr>
            <a:spLocks noGrp="1"/>
          </p:cNvSpPr>
          <p:nvPr>
            <p:ph type="title"/>
          </p:nvPr>
        </p:nvSpPr>
        <p:spPr bwMode="gray">
          <a:xfrm>
            <a:off x="1092200" y="789687"/>
            <a:ext cx="10007600" cy="604039"/>
          </a:xfrm>
        </p:spPr>
        <p:txBody>
          <a:bodyPr/>
          <a:lstStyle/>
          <a:p>
            <a:r>
              <a:rPr lang="en-US" b="0" i="0" dirty="0">
                <a:solidFill>
                  <a:srgbClr val="000000"/>
                </a:solidFill>
                <a:latin typeface="Barlow ExtraBold"/>
              </a:rPr>
              <a:t>Published Policies tab</a:t>
            </a:r>
          </a:p>
        </p:txBody>
      </p:sp>
      <p:sp>
        <p:nvSpPr>
          <p:cNvPr id="7" name="Slide Number Placeholder 6">
            <a:extLst>
              <a:ext uri="{FF2B5EF4-FFF2-40B4-BE49-F238E27FC236}">
                <a16:creationId xmlns:a16="http://schemas.microsoft.com/office/drawing/2014/main" id="{C63FF374-80B2-3E83-2CF7-794BDEE5E39F}"/>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1</a:t>
            </a:fld>
            <a:endParaRPr lang="en-US" noProof="0"/>
          </a:p>
        </p:txBody>
      </p:sp>
      <p:sp>
        <p:nvSpPr>
          <p:cNvPr id="5" name="Inhaltsplatzhalter 5">
            <a:extLst>
              <a:ext uri="{FF2B5EF4-FFF2-40B4-BE49-F238E27FC236}">
                <a16:creationId xmlns:a16="http://schemas.microsoft.com/office/drawing/2014/main" id="{DD699F12-CF0F-7489-35B8-8BAEA14E2854}"/>
              </a:ext>
            </a:extLst>
          </p:cNvPr>
          <p:cNvSpPr txBox="1">
            <a:spLocks/>
          </p:cNvSpPr>
          <p:nvPr/>
        </p:nvSpPr>
        <p:spPr bwMode="gray">
          <a:xfrm>
            <a:off x="1092200" y="1941534"/>
            <a:ext cx="4697539" cy="3762704"/>
          </a:xfrm>
          <a:prstGeom prst="rect">
            <a:avLst/>
          </a:prstGeom>
        </p:spPr>
        <p:txBody>
          <a:bodyPr vert="horz" lIns="0" tIns="0" rIns="0" bIns="0" rtlCol="0" anchor="t">
            <a:noAutofit/>
          </a:bodyPr>
          <a:lstStyle>
            <a:defPPr>
              <a:defRPr lang="de-DE"/>
            </a:defPPr>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000" dirty="0"/>
              <a:t>When a policy is ‘Active,’ that means that the defined audience of users have been given access to the policy. Those assigned employee users will be able to find the policy in Integrity Hub.</a:t>
            </a:r>
          </a:p>
          <a:p>
            <a:pPr lvl="5"/>
            <a:r>
              <a:rPr lang="en-US" sz="2000" dirty="0"/>
              <a:t>Use the </a:t>
            </a:r>
            <a:r>
              <a:rPr lang="en-US" sz="2000" b="1" dirty="0"/>
              <a:t>‘Download metadata’ </a:t>
            </a:r>
            <a:r>
              <a:rPr lang="en-US" sz="2000" dirty="0"/>
              <a:t>button on the top right to download metadata for </a:t>
            </a:r>
            <a:r>
              <a:rPr lang="en-US" sz="2000" i="1" dirty="0"/>
              <a:t>all </a:t>
            </a:r>
            <a:r>
              <a:rPr lang="en-US" sz="2000" dirty="0"/>
              <a:t>published policies</a:t>
            </a:r>
          </a:p>
          <a:p>
            <a:pPr lvl="5"/>
            <a:endParaRPr lang="en-US" sz="2000" dirty="0"/>
          </a:p>
          <a:p>
            <a:pPr lvl="5"/>
            <a:endParaRPr lang="en-US" sz="2000" dirty="0"/>
          </a:p>
        </p:txBody>
      </p:sp>
      <p:pic>
        <p:nvPicPr>
          <p:cNvPr id="9" name="Picture 8">
            <a:extLst>
              <a:ext uri="{FF2B5EF4-FFF2-40B4-BE49-F238E27FC236}">
                <a16:creationId xmlns:a16="http://schemas.microsoft.com/office/drawing/2014/main" id="{45D646A5-215C-A63C-9F6E-E59B56EC4F02}"/>
              </a:ext>
            </a:extLst>
          </p:cNvPr>
          <p:cNvPicPr>
            <a:picLocks noChangeAspect="1"/>
          </p:cNvPicPr>
          <p:nvPr/>
        </p:nvPicPr>
        <p:blipFill>
          <a:blip r:embed="rId4"/>
          <a:srcRect/>
          <a:stretch/>
        </p:blipFill>
        <p:spPr>
          <a:xfrm>
            <a:off x="6472010" y="1941534"/>
            <a:ext cx="4040726" cy="1783050"/>
          </a:xfrm>
          <a:prstGeom prst="rect">
            <a:avLst/>
          </a:prstGeom>
          <a:ln>
            <a:noFill/>
          </a:ln>
        </p:spPr>
      </p:pic>
      <p:pic>
        <p:nvPicPr>
          <p:cNvPr id="11" name="Picture 10">
            <a:extLst>
              <a:ext uri="{FF2B5EF4-FFF2-40B4-BE49-F238E27FC236}">
                <a16:creationId xmlns:a16="http://schemas.microsoft.com/office/drawing/2014/main" id="{5FC81921-A544-92FF-AE97-10EF61B4EF30}"/>
              </a:ext>
            </a:extLst>
          </p:cNvPr>
          <p:cNvPicPr>
            <a:picLocks noChangeAspect="1"/>
          </p:cNvPicPr>
          <p:nvPr/>
        </p:nvPicPr>
        <p:blipFill>
          <a:blip r:embed="rId5"/>
          <a:srcRect/>
          <a:stretch/>
        </p:blipFill>
        <p:spPr>
          <a:xfrm>
            <a:off x="7444091" y="3864344"/>
            <a:ext cx="2096563" cy="2203969"/>
          </a:xfrm>
          <a:prstGeom prst="rect">
            <a:avLst/>
          </a:prstGeom>
          <a:ln>
            <a:noFill/>
          </a:ln>
        </p:spPr>
      </p:pic>
    </p:spTree>
    <p:extLst>
      <p:ext uri="{BB962C8B-B14F-4D97-AF65-F5344CB8AC3E}">
        <p14:creationId xmlns:p14="http://schemas.microsoft.com/office/powerpoint/2010/main" val="18932834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4A2B4E-83FF-BB58-082A-7BCCC2B7F94E}"/>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9379A412-4313-CA49-8921-F0605FBE5FF9}"/>
              </a:ext>
            </a:extLst>
          </p:cNvPr>
          <p:cNvSpPr>
            <a:spLocks noGrp="1"/>
          </p:cNvSpPr>
          <p:nvPr>
            <p:ph type="body" idx="1"/>
          </p:nvPr>
        </p:nvSpPr>
        <p:spPr bwMode="gray">
          <a:xfrm>
            <a:off x="1092200" y="1412875"/>
            <a:ext cx="5111750" cy="4356385"/>
          </a:xfrm>
        </p:spPr>
        <p:txBody>
          <a:bodyPr/>
          <a:lstStyle/>
          <a:p>
            <a:r>
              <a:rPr lang="en-US" dirty="0">
                <a:latin typeface="Barlow ExtraBold"/>
              </a:rPr>
              <a:t>Reviewing a Policy</a:t>
            </a:r>
          </a:p>
        </p:txBody>
      </p:sp>
      <p:sp>
        <p:nvSpPr>
          <p:cNvPr id="8" name="Textplatzhalter 7">
            <a:extLst>
              <a:ext uri="{FF2B5EF4-FFF2-40B4-BE49-F238E27FC236}">
                <a16:creationId xmlns:a16="http://schemas.microsoft.com/office/drawing/2014/main" id="{086E816F-3F09-29C4-0FAC-8FADFE04A782}"/>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p>
        </p:txBody>
      </p:sp>
      <p:sp>
        <p:nvSpPr>
          <p:cNvPr id="16" name="Titel 15">
            <a:extLst>
              <a:ext uri="{FF2B5EF4-FFF2-40B4-BE49-F238E27FC236}">
                <a16:creationId xmlns:a16="http://schemas.microsoft.com/office/drawing/2014/main" id="{C0B5661B-BD26-4FAD-D1B5-82672F9E9551}"/>
              </a:ext>
            </a:extLst>
          </p:cNvPr>
          <p:cNvSpPr>
            <a:spLocks noGrp="1"/>
          </p:cNvSpPr>
          <p:nvPr>
            <p:ph type="title"/>
          </p:nvPr>
        </p:nvSpPr>
        <p:spPr/>
        <p:txBody>
          <a:bodyPr/>
          <a:lstStyle/>
          <a:p>
            <a:r>
              <a:rPr lang="de-DE"/>
              <a:t>03</a:t>
            </a:r>
          </a:p>
        </p:txBody>
      </p:sp>
    </p:spTree>
    <p:extLst>
      <p:ext uri="{BB962C8B-B14F-4D97-AF65-F5344CB8AC3E}">
        <p14:creationId xmlns:p14="http://schemas.microsoft.com/office/powerpoint/2010/main" val="6845429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DE957C-6EB1-0878-2640-490473ED8F8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F00D23D-FE66-4FBE-96FD-3F426D6C2A80}"/>
              </a:ext>
            </a:extLst>
          </p:cNvPr>
          <p:cNvSpPr>
            <a:spLocks noGrp="1"/>
          </p:cNvSpPr>
          <p:nvPr>
            <p:ph type="title"/>
          </p:nvPr>
        </p:nvSpPr>
        <p:spPr/>
        <p:txBody>
          <a:bodyPr/>
          <a:lstStyle/>
          <a:p>
            <a:r>
              <a:rPr lang="en-US" dirty="0"/>
              <a:t>Open and Review a Policy</a:t>
            </a:r>
          </a:p>
        </p:txBody>
      </p:sp>
      <p:sp>
        <p:nvSpPr>
          <p:cNvPr id="8" name="Subtitle 7">
            <a:extLst>
              <a:ext uri="{FF2B5EF4-FFF2-40B4-BE49-F238E27FC236}">
                <a16:creationId xmlns:a16="http://schemas.microsoft.com/office/drawing/2014/main" id="{327842A9-BA08-F0DB-D1CC-E08F7287479B}"/>
              </a:ext>
            </a:extLst>
          </p:cNvPr>
          <p:cNvSpPr>
            <a:spLocks noGrp="1"/>
          </p:cNvSpPr>
          <p:nvPr>
            <p:ph type="subTitle" idx="12"/>
          </p:nvPr>
        </p:nvSpPr>
        <p:spPr/>
        <p:txBody>
          <a:bodyPr vert="horz" wrap="square" lIns="0" tIns="0" rIns="0" bIns="0" rtlCol="0" anchor="t">
            <a:normAutofit fontScale="62500" lnSpcReduction="20000"/>
          </a:bodyPr>
          <a:lstStyle/>
          <a:p>
            <a:r>
              <a:rPr lang="en-US" dirty="0">
                <a:latin typeface="Barlow Medium"/>
              </a:rPr>
              <a:t>Open an ‘In Progress’ or ‘Published’ policy by clicking the ‘</a:t>
            </a:r>
            <a:r>
              <a:rPr lang="en-US" b="1" dirty="0">
                <a:latin typeface="Barlow Medium"/>
              </a:rPr>
              <a:t>Policy Name’ </a:t>
            </a:r>
            <a:r>
              <a:rPr lang="en-US" dirty="0">
                <a:latin typeface="Barlow Medium"/>
              </a:rPr>
              <a:t>located in the left of the Dashboard pane. </a:t>
            </a:r>
          </a:p>
          <a:p>
            <a:endParaRPr lang="en-US" dirty="0"/>
          </a:p>
        </p:txBody>
      </p:sp>
      <p:sp>
        <p:nvSpPr>
          <p:cNvPr id="6" name="Slide Number Placeholder 5">
            <a:extLst>
              <a:ext uri="{FF2B5EF4-FFF2-40B4-BE49-F238E27FC236}">
                <a16:creationId xmlns:a16="http://schemas.microsoft.com/office/drawing/2014/main" id="{BFD271F0-B7A3-EB32-0245-64696948B7F6}"/>
              </a:ext>
            </a:extLst>
          </p:cNvPr>
          <p:cNvSpPr>
            <a:spLocks noGrp="1"/>
          </p:cNvSpPr>
          <p:nvPr>
            <p:ph type="sldNum" sz="quarter" idx="13"/>
          </p:nvPr>
        </p:nvSpPr>
        <p:spPr/>
        <p:txBody>
          <a:bodyPr/>
          <a:lstStyle/>
          <a:p>
            <a:fld id="{44661A95-0089-4306-9485-D330C59FE3ED}" type="slidenum">
              <a:rPr lang="de-DE" smtClean="0"/>
              <a:pPr/>
              <a:t>13</a:t>
            </a:fld>
            <a:endParaRPr lang="de-DE"/>
          </a:p>
        </p:txBody>
      </p:sp>
      <p:pic>
        <p:nvPicPr>
          <p:cNvPr id="5" name="Picture 4">
            <a:extLst>
              <a:ext uri="{FF2B5EF4-FFF2-40B4-BE49-F238E27FC236}">
                <a16:creationId xmlns:a16="http://schemas.microsoft.com/office/drawing/2014/main" id="{8B0582C4-876D-E9F0-2E47-BF7AFCDCEA21}"/>
              </a:ext>
            </a:extLst>
          </p:cNvPr>
          <p:cNvPicPr>
            <a:picLocks noChangeAspect="1"/>
          </p:cNvPicPr>
          <p:nvPr/>
        </p:nvPicPr>
        <p:blipFill>
          <a:blip r:embed="rId3"/>
          <a:srcRect l="58" t="737" r="260" b="-737"/>
          <a:stretch>
            <a:fillRect/>
          </a:stretch>
        </p:blipFill>
        <p:spPr>
          <a:xfrm>
            <a:off x="847065" y="1964044"/>
            <a:ext cx="10476463" cy="3397671"/>
          </a:xfrm>
          <a:prstGeom prst="rect">
            <a:avLst/>
          </a:prstGeom>
          <a:ln>
            <a:noFill/>
          </a:ln>
        </p:spPr>
      </p:pic>
    </p:spTree>
    <p:extLst>
      <p:ext uri="{BB962C8B-B14F-4D97-AF65-F5344CB8AC3E}">
        <p14:creationId xmlns:p14="http://schemas.microsoft.com/office/powerpoint/2010/main" val="29221087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BAD2F3-667B-8C02-954C-0F285D42BFA8}"/>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04F6CDB-AC8C-7D80-6933-C5F1C7912FB4}"/>
              </a:ext>
            </a:extLst>
          </p:cNvPr>
          <p:cNvSpPr>
            <a:spLocks noGrp="1"/>
          </p:cNvSpPr>
          <p:nvPr>
            <p:ph idx="1"/>
          </p:nvPr>
        </p:nvSpPr>
        <p:spPr>
          <a:xfrm>
            <a:off x="1092200" y="1895561"/>
            <a:ext cx="3984061" cy="4453598"/>
          </a:xfrm>
        </p:spPr>
        <p:txBody>
          <a:bodyPr vert="horz" lIns="0" tIns="0" rIns="0" bIns="0" rtlCol="0" anchor="t">
            <a:normAutofit/>
          </a:bodyPr>
          <a:lstStyle/>
          <a:p>
            <a:pPr lvl="2">
              <a:buClr>
                <a:srgbClr val="E90055"/>
              </a:buClr>
              <a:defRPr/>
            </a:pPr>
            <a:r>
              <a:rPr lang="en-US" sz="1800" dirty="0"/>
              <a:t>Once in the Policy you can view the content, details, attestation and policy access showing who can view the policy in Integrity Hub. </a:t>
            </a:r>
          </a:p>
          <a:p>
            <a:pPr lvl="2">
              <a:buClr>
                <a:srgbClr val="E90055"/>
              </a:buClr>
              <a:defRPr/>
            </a:pPr>
            <a:r>
              <a:rPr lang="en-US" sz="1700" dirty="0"/>
              <a:t>When accessing ’Draft’ policies, you can use the ‘</a:t>
            </a:r>
            <a:r>
              <a:rPr lang="en-US" sz="1700" b="1" dirty="0"/>
              <a:t>Edit’</a:t>
            </a:r>
            <a:r>
              <a:rPr lang="en-US" sz="1700" dirty="0"/>
              <a:t> button next to each section to make changes. </a:t>
            </a:r>
          </a:p>
        </p:txBody>
      </p:sp>
      <p:sp>
        <p:nvSpPr>
          <p:cNvPr id="4" name="Title 3">
            <a:extLst>
              <a:ext uri="{FF2B5EF4-FFF2-40B4-BE49-F238E27FC236}">
                <a16:creationId xmlns:a16="http://schemas.microsoft.com/office/drawing/2014/main" id="{1D30F703-3BA9-A634-6463-6E0C3005C2E6}"/>
              </a:ext>
            </a:extLst>
          </p:cNvPr>
          <p:cNvSpPr>
            <a:spLocks noGrp="1"/>
          </p:cNvSpPr>
          <p:nvPr>
            <p:ph type="title"/>
          </p:nvPr>
        </p:nvSpPr>
        <p:spPr/>
        <p:txBody>
          <a:bodyPr/>
          <a:lstStyle/>
          <a:p>
            <a:r>
              <a:rPr lang="en-US"/>
              <a:t>Reviewing a Policy</a:t>
            </a:r>
          </a:p>
        </p:txBody>
      </p:sp>
      <p:sp>
        <p:nvSpPr>
          <p:cNvPr id="6" name="Slide Number Placeholder 5">
            <a:extLst>
              <a:ext uri="{FF2B5EF4-FFF2-40B4-BE49-F238E27FC236}">
                <a16:creationId xmlns:a16="http://schemas.microsoft.com/office/drawing/2014/main" id="{42FE519D-52BF-CF6F-D4D1-6806E547877B}"/>
              </a:ext>
            </a:extLst>
          </p:cNvPr>
          <p:cNvSpPr>
            <a:spLocks noGrp="1"/>
          </p:cNvSpPr>
          <p:nvPr>
            <p:ph type="sldNum" sz="quarter" idx="13"/>
          </p:nvPr>
        </p:nvSpPr>
        <p:spPr/>
        <p:txBody>
          <a:bodyPr/>
          <a:lstStyle/>
          <a:p>
            <a:fld id="{44661A95-0089-4306-9485-D330C59FE3ED}" type="slidenum">
              <a:rPr lang="de-DE" smtClean="0"/>
              <a:pPr/>
              <a:t>14</a:t>
            </a:fld>
            <a:endParaRPr lang="de-DE"/>
          </a:p>
        </p:txBody>
      </p:sp>
      <p:pic>
        <p:nvPicPr>
          <p:cNvPr id="5" name="Picture 4">
            <a:extLst>
              <a:ext uri="{FF2B5EF4-FFF2-40B4-BE49-F238E27FC236}">
                <a16:creationId xmlns:a16="http://schemas.microsoft.com/office/drawing/2014/main" id="{84DCC617-A28C-DF83-A262-CF435D7427C6}"/>
              </a:ext>
            </a:extLst>
          </p:cNvPr>
          <p:cNvPicPr>
            <a:picLocks noChangeAspect="1"/>
          </p:cNvPicPr>
          <p:nvPr/>
        </p:nvPicPr>
        <p:blipFill>
          <a:blip r:embed="rId2"/>
          <a:srcRect/>
          <a:stretch/>
        </p:blipFill>
        <p:spPr>
          <a:xfrm>
            <a:off x="6095999" y="1895561"/>
            <a:ext cx="3984061" cy="4079832"/>
          </a:xfrm>
          <a:prstGeom prst="rect">
            <a:avLst/>
          </a:prstGeom>
          <a:ln>
            <a:noFill/>
          </a:ln>
        </p:spPr>
      </p:pic>
    </p:spTree>
    <p:extLst>
      <p:ext uri="{BB962C8B-B14F-4D97-AF65-F5344CB8AC3E}">
        <p14:creationId xmlns:p14="http://schemas.microsoft.com/office/powerpoint/2010/main" val="31923374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4E9F7F-54CE-8544-D75F-DEB52F43609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328FD23-BAFA-763D-B70F-E09C4BA95204}"/>
              </a:ext>
            </a:extLst>
          </p:cNvPr>
          <p:cNvSpPr>
            <a:spLocks noGrp="1"/>
          </p:cNvSpPr>
          <p:nvPr>
            <p:ph idx="1"/>
          </p:nvPr>
        </p:nvSpPr>
        <p:spPr>
          <a:xfrm>
            <a:off x="1090559" y="2042893"/>
            <a:ext cx="9880036" cy="948398"/>
          </a:xfrm>
        </p:spPr>
        <p:txBody>
          <a:bodyPr vert="horz" lIns="0" tIns="0" rIns="0" bIns="0" rtlCol="0" anchor="t">
            <a:normAutofit/>
          </a:bodyPr>
          <a:lstStyle/>
          <a:p>
            <a:pPr lvl="2">
              <a:buClr>
                <a:srgbClr val="E90055"/>
              </a:buClr>
              <a:defRPr/>
            </a:pPr>
            <a:r>
              <a:rPr lang="en-US" dirty="0"/>
              <a:t>To view the full policy content, you will need to click </a:t>
            </a:r>
            <a:r>
              <a:rPr lang="en-US" b="1" dirty="0"/>
              <a:t>‘Show more’ </a:t>
            </a:r>
            <a:r>
              <a:rPr lang="en-US" dirty="0"/>
              <a:t>under the policy Content section </a:t>
            </a:r>
          </a:p>
          <a:p>
            <a:pPr lvl="3">
              <a:buClr>
                <a:srgbClr val="E90055"/>
              </a:buClr>
              <a:defRPr/>
            </a:pPr>
            <a:endParaRPr lang="en-US" dirty="0"/>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endParaRPr lang="en-US" dirty="0"/>
          </a:p>
        </p:txBody>
      </p:sp>
      <p:sp>
        <p:nvSpPr>
          <p:cNvPr id="4" name="Title 3">
            <a:extLst>
              <a:ext uri="{FF2B5EF4-FFF2-40B4-BE49-F238E27FC236}">
                <a16:creationId xmlns:a16="http://schemas.microsoft.com/office/drawing/2014/main" id="{328947DC-1D12-78CC-296D-55EA7CE7D11A}"/>
              </a:ext>
            </a:extLst>
          </p:cNvPr>
          <p:cNvSpPr>
            <a:spLocks noGrp="1"/>
          </p:cNvSpPr>
          <p:nvPr>
            <p:ph type="title"/>
          </p:nvPr>
        </p:nvSpPr>
        <p:spPr/>
        <p:txBody>
          <a:bodyPr/>
          <a:lstStyle/>
          <a:p>
            <a:r>
              <a:rPr lang="en-US"/>
              <a:t>Reviewing a Policy</a:t>
            </a:r>
          </a:p>
        </p:txBody>
      </p:sp>
      <p:sp>
        <p:nvSpPr>
          <p:cNvPr id="6" name="Slide Number Placeholder 5">
            <a:extLst>
              <a:ext uri="{FF2B5EF4-FFF2-40B4-BE49-F238E27FC236}">
                <a16:creationId xmlns:a16="http://schemas.microsoft.com/office/drawing/2014/main" id="{C03AE309-04F8-FA2B-3B21-AC9A91D0C1E7}"/>
              </a:ext>
            </a:extLst>
          </p:cNvPr>
          <p:cNvSpPr>
            <a:spLocks noGrp="1"/>
          </p:cNvSpPr>
          <p:nvPr>
            <p:ph type="sldNum" sz="quarter" idx="13"/>
          </p:nvPr>
        </p:nvSpPr>
        <p:spPr/>
        <p:txBody>
          <a:bodyPr/>
          <a:lstStyle/>
          <a:p>
            <a:fld id="{44661A95-0089-4306-9485-D330C59FE3ED}" type="slidenum">
              <a:rPr lang="de-DE" smtClean="0"/>
              <a:pPr/>
              <a:t>15</a:t>
            </a:fld>
            <a:endParaRPr lang="de-DE"/>
          </a:p>
        </p:txBody>
      </p:sp>
      <p:pic>
        <p:nvPicPr>
          <p:cNvPr id="3" name="Picture 2" descr="A screenshot of a computer&#10;&#10;AI-generated content may be incorrect.">
            <a:extLst>
              <a:ext uri="{FF2B5EF4-FFF2-40B4-BE49-F238E27FC236}">
                <a16:creationId xmlns:a16="http://schemas.microsoft.com/office/drawing/2014/main" id="{323927F9-0C55-A788-37B8-027F06D47DC7}"/>
              </a:ext>
            </a:extLst>
          </p:cNvPr>
          <p:cNvPicPr>
            <a:picLocks noChangeAspect="1"/>
          </p:cNvPicPr>
          <p:nvPr/>
        </p:nvPicPr>
        <p:blipFill>
          <a:blip r:embed="rId3"/>
          <a:stretch>
            <a:fillRect/>
          </a:stretch>
        </p:blipFill>
        <p:spPr>
          <a:xfrm>
            <a:off x="1425218" y="3150638"/>
            <a:ext cx="9342783" cy="2438793"/>
          </a:xfrm>
          <a:prstGeom prst="rect">
            <a:avLst/>
          </a:prstGeom>
          <a:ln>
            <a:noFill/>
          </a:ln>
        </p:spPr>
      </p:pic>
    </p:spTree>
    <p:extLst>
      <p:ext uri="{BB962C8B-B14F-4D97-AF65-F5344CB8AC3E}">
        <p14:creationId xmlns:p14="http://schemas.microsoft.com/office/powerpoint/2010/main" val="24355856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62A4464-F34E-C336-6BAF-3264DFC477BC}"/>
              </a:ext>
            </a:extLst>
          </p:cNvPr>
          <p:cNvSpPr>
            <a:spLocks noGrp="1"/>
          </p:cNvSpPr>
          <p:nvPr>
            <p:ph type="title"/>
          </p:nvPr>
        </p:nvSpPr>
        <p:spPr/>
        <p:txBody>
          <a:bodyPr/>
          <a:lstStyle/>
          <a:p>
            <a:r>
              <a:rPr lang="en-US" dirty="0"/>
              <a:t>Reviewing a Policy</a:t>
            </a:r>
          </a:p>
        </p:txBody>
      </p:sp>
      <p:sp>
        <p:nvSpPr>
          <p:cNvPr id="6" name="Slide Number Placeholder 5">
            <a:extLst>
              <a:ext uri="{FF2B5EF4-FFF2-40B4-BE49-F238E27FC236}">
                <a16:creationId xmlns:a16="http://schemas.microsoft.com/office/drawing/2014/main" id="{B1DAB69D-C2C1-5F6F-9D6D-450928C92096}"/>
              </a:ext>
            </a:extLst>
          </p:cNvPr>
          <p:cNvSpPr>
            <a:spLocks noGrp="1"/>
          </p:cNvSpPr>
          <p:nvPr>
            <p:ph type="sldNum" sz="quarter" idx="13"/>
          </p:nvPr>
        </p:nvSpPr>
        <p:spPr/>
        <p:txBody>
          <a:bodyPr/>
          <a:lstStyle/>
          <a:p>
            <a:fld id="{44661A95-0089-4306-9485-D330C59FE3ED}" type="slidenum">
              <a:rPr lang="de-DE" smtClean="0"/>
              <a:pPr/>
              <a:t>16</a:t>
            </a:fld>
            <a:endParaRPr lang="de-DE"/>
          </a:p>
        </p:txBody>
      </p:sp>
      <p:sp>
        <p:nvSpPr>
          <p:cNvPr id="8" name="Content Placeholder 1">
            <a:extLst>
              <a:ext uri="{FF2B5EF4-FFF2-40B4-BE49-F238E27FC236}">
                <a16:creationId xmlns:a16="http://schemas.microsoft.com/office/drawing/2014/main" id="{BD48E7F1-D44D-8B25-7E38-133B416E5C03}"/>
              </a:ext>
            </a:extLst>
          </p:cNvPr>
          <p:cNvSpPr>
            <a:spLocks noGrp="1"/>
          </p:cNvSpPr>
          <p:nvPr>
            <p:ph idx="1"/>
          </p:nvPr>
        </p:nvSpPr>
        <p:spPr>
          <a:xfrm>
            <a:off x="1090558" y="1921346"/>
            <a:ext cx="3751101" cy="3715365"/>
          </a:xfrm>
        </p:spPr>
        <p:txBody>
          <a:bodyPr vert="horz" lIns="0" tIns="0" rIns="0" bIns="0" rtlCol="0" anchor="t">
            <a:normAutofit fontScale="85000" lnSpcReduction="10000"/>
          </a:bodyPr>
          <a:lstStyle/>
          <a:p>
            <a:pPr lvl="2">
              <a:buClr>
                <a:srgbClr val="E90055"/>
              </a:buClr>
              <a:defRPr/>
            </a:pPr>
            <a:r>
              <a:rPr lang="en-US" dirty="0"/>
              <a:t>If you need to collect attestations, turn on the </a:t>
            </a:r>
            <a:r>
              <a:rPr lang="en-US" b="1" dirty="0"/>
              <a:t>‘Attestation’ </a:t>
            </a:r>
            <a:r>
              <a:rPr lang="en-US" dirty="0"/>
              <a:t>toggle</a:t>
            </a:r>
          </a:p>
          <a:p>
            <a:pPr lvl="2">
              <a:buClr>
                <a:srgbClr val="E90055"/>
              </a:buClr>
              <a:defRPr/>
            </a:pPr>
            <a:r>
              <a:rPr lang="en-US" dirty="0"/>
              <a:t>Select one of the following Attestation Methods</a:t>
            </a:r>
          </a:p>
          <a:p>
            <a:pPr lvl="3">
              <a:buClr>
                <a:srgbClr val="E90055"/>
              </a:buClr>
              <a:defRPr/>
            </a:pPr>
            <a:r>
              <a:rPr lang="en-US" dirty="0"/>
              <a:t>Read only</a:t>
            </a:r>
          </a:p>
          <a:p>
            <a:pPr lvl="3">
              <a:buClr>
                <a:srgbClr val="E90055"/>
              </a:buClr>
              <a:defRPr/>
            </a:pPr>
            <a:r>
              <a:rPr lang="en-US" dirty="0"/>
              <a:t>Confirmation checkbox</a:t>
            </a:r>
          </a:p>
          <a:p>
            <a:pPr lvl="3">
              <a:buClr>
                <a:srgbClr val="E90055"/>
              </a:buClr>
              <a:defRPr/>
            </a:pPr>
            <a:r>
              <a:rPr lang="en-US" dirty="0"/>
              <a:t>Quiz</a:t>
            </a:r>
          </a:p>
          <a:p>
            <a:pPr lvl="3">
              <a:buClr>
                <a:srgbClr val="E90055"/>
              </a:buClr>
              <a:defRPr/>
            </a:pPr>
            <a:r>
              <a:rPr lang="en-US" dirty="0"/>
              <a:t>Electronic signature</a:t>
            </a:r>
          </a:p>
          <a:p>
            <a:pPr lvl="2">
              <a:buClr>
                <a:srgbClr val="E90055"/>
              </a:buClr>
              <a:defRPr/>
            </a:pPr>
            <a:r>
              <a:rPr lang="en-US" b="1" dirty="0"/>
              <a:t>Note: Attestations methods are set per policy.</a:t>
            </a:r>
          </a:p>
          <a:p>
            <a:pPr lvl="3">
              <a:buClr>
                <a:srgbClr val="E90055"/>
              </a:buClr>
              <a:defRPr/>
            </a:pPr>
            <a:endParaRPr lang="en-US" dirty="0"/>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endParaRPr lang="en-US" dirty="0"/>
          </a:p>
        </p:txBody>
      </p:sp>
      <p:pic>
        <p:nvPicPr>
          <p:cNvPr id="9" name="Picture 8">
            <a:extLst>
              <a:ext uri="{FF2B5EF4-FFF2-40B4-BE49-F238E27FC236}">
                <a16:creationId xmlns:a16="http://schemas.microsoft.com/office/drawing/2014/main" id="{B958F616-A4A1-C67D-AFF1-EE7187287F6E}"/>
              </a:ext>
            </a:extLst>
          </p:cNvPr>
          <p:cNvPicPr>
            <a:picLocks noChangeAspect="1"/>
          </p:cNvPicPr>
          <p:nvPr/>
        </p:nvPicPr>
        <p:blipFill>
          <a:blip r:embed="rId3"/>
          <a:srcRect t="45" b="4183"/>
          <a:stretch>
            <a:fillRect/>
          </a:stretch>
        </p:blipFill>
        <p:spPr>
          <a:xfrm>
            <a:off x="6194669" y="1921346"/>
            <a:ext cx="3626052" cy="4066794"/>
          </a:xfrm>
          <a:prstGeom prst="rect">
            <a:avLst/>
          </a:prstGeom>
          <a:ln>
            <a:noFill/>
          </a:ln>
        </p:spPr>
      </p:pic>
    </p:spTree>
    <p:extLst>
      <p:ext uri="{BB962C8B-B14F-4D97-AF65-F5344CB8AC3E}">
        <p14:creationId xmlns:p14="http://schemas.microsoft.com/office/powerpoint/2010/main" val="15386857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010369-F6A9-5F9E-3B7D-B7EE9AF2B913}"/>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AF8AD99-C33D-40E6-E10F-6145C7B419CD}"/>
              </a:ext>
            </a:extLst>
          </p:cNvPr>
          <p:cNvSpPr>
            <a:spLocks noGrp="1"/>
          </p:cNvSpPr>
          <p:nvPr>
            <p:ph idx="1"/>
          </p:nvPr>
        </p:nvSpPr>
        <p:spPr>
          <a:xfrm>
            <a:off x="1092200" y="1726250"/>
            <a:ext cx="3984061" cy="4453598"/>
          </a:xfrm>
        </p:spPr>
        <p:txBody>
          <a:bodyPr vert="horz" lIns="0" tIns="0" rIns="0" bIns="0" rtlCol="0" anchor="t">
            <a:normAutofit fontScale="92500" lnSpcReduction="20000"/>
          </a:bodyPr>
          <a:lstStyle/>
          <a:p>
            <a:pPr lvl="2">
              <a:buClr>
                <a:srgbClr val="E90055"/>
              </a:buClr>
              <a:defRPr/>
            </a:pPr>
            <a:r>
              <a:rPr lang="en-US" sz="1800" dirty="0"/>
              <a:t>Policy access outlines the users or employees who have access to the policy in Integrity Hub. If Campaigns is enabled, users can only attest through a Campaign.</a:t>
            </a:r>
          </a:p>
          <a:p>
            <a:pPr lvl="2">
              <a:buClr>
                <a:srgbClr val="E90055"/>
              </a:buClr>
              <a:defRPr/>
            </a:pPr>
            <a:r>
              <a:rPr lang="en-US" sz="1800" dirty="0"/>
              <a:t>There are three ways in which the audience of a policy can be defined.</a:t>
            </a:r>
          </a:p>
          <a:p>
            <a:pPr lvl="3">
              <a:buClr>
                <a:srgbClr val="E90055"/>
              </a:buClr>
              <a:defRPr/>
            </a:pPr>
            <a:r>
              <a:rPr lang="en-US" sz="1700" dirty="0"/>
              <a:t>All users in the data base will be assigned the policy</a:t>
            </a:r>
          </a:p>
          <a:p>
            <a:pPr lvl="3">
              <a:buClr>
                <a:srgbClr val="E90055"/>
              </a:buClr>
              <a:defRPr/>
            </a:pPr>
            <a:r>
              <a:rPr lang="en-US" sz="1700" dirty="0"/>
              <a:t>The policy can be assigned based on user criteria</a:t>
            </a:r>
          </a:p>
          <a:p>
            <a:pPr lvl="3">
              <a:buClr>
                <a:srgbClr val="E90055"/>
              </a:buClr>
              <a:defRPr/>
            </a:pPr>
            <a:r>
              <a:rPr lang="en-US" sz="1700" dirty="0"/>
              <a:t>OR the policy will only be available via a public link. </a:t>
            </a:r>
          </a:p>
          <a:p>
            <a:pPr lvl="3">
              <a:buClr>
                <a:srgbClr val="E90055"/>
              </a:buClr>
              <a:defRPr/>
            </a:pPr>
            <a:r>
              <a:rPr lang="en-US" sz="1700" b="1" dirty="0"/>
              <a:t>Note: Public link policies do not allow attestation</a:t>
            </a:r>
          </a:p>
          <a:p>
            <a:pPr lvl="2">
              <a:buClr>
                <a:srgbClr val="E90055"/>
              </a:buClr>
              <a:defRPr/>
            </a:pPr>
            <a:endParaRPr lang="en-US" dirty="0"/>
          </a:p>
        </p:txBody>
      </p:sp>
      <p:sp>
        <p:nvSpPr>
          <p:cNvPr id="4" name="Title 3">
            <a:extLst>
              <a:ext uri="{FF2B5EF4-FFF2-40B4-BE49-F238E27FC236}">
                <a16:creationId xmlns:a16="http://schemas.microsoft.com/office/drawing/2014/main" id="{D7F4EECB-A1FC-7689-3044-235AB824FCBF}"/>
              </a:ext>
            </a:extLst>
          </p:cNvPr>
          <p:cNvSpPr>
            <a:spLocks noGrp="1"/>
          </p:cNvSpPr>
          <p:nvPr>
            <p:ph type="title"/>
          </p:nvPr>
        </p:nvSpPr>
        <p:spPr/>
        <p:txBody>
          <a:bodyPr/>
          <a:lstStyle/>
          <a:p>
            <a:r>
              <a:rPr lang="en-US"/>
              <a:t>Reviewing a Policy</a:t>
            </a:r>
          </a:p>
        </p:txBody>
      </p:sp>
      <p:sp>
        <p:nvSpPr>
          <p:cNvPr id="6" name="Slide Number Placeholder 5">
            <a:extLst>
              <a:ext uri="{FF2B5EF4-FFF2-40B4-BE49-F238E27FC236}">
                <a16:creationId xmlns:a16="http://schemas.microsoft.com/office/drawing/2014/main" id="{89C7518C-1689-4238-5B39-9C34A3062722}"/>
              </a:ext>
            </a:extLst>
          </p:cNvPr>
          <p:cNvSpPr>
            <a:spLocks noGrp="1"/>
          </p:cNvSpPr>
          <p:nvPr>
            <p:ph type="sldNum" sz="quarter" idx="13"/>
          </p:nvPr>
        </p:nvSpPr>
        <p:spPr/>
        <p:txBody>
          <a:bodyPr/>
          <a:lstStyle/>
          <a:p>
            <a:fld id="{44661A95-0089-4306-9485-D330C59FE3ED}" type="slidenum">
              <a:rPr lang="de-DE" smtClean="0"/>
              <a:pPr/>
              <a:t>17</a:t>
            </a:fld>
            <a:endParaRPr lang="de-DE"/>
          </a:p>
        </p:txBody>
      </p:sp>
      <p:pic>
        <p:nvPicPr>
          <p:cNvPr id="14" name="Picture 13">
            <a:extLst>
              <a:ext uri="{FF2B5EF4-FFF2-40B4-BE49-F238E27FC236}">
                <a16:creationId xmlns:a16="http://schemas.microsoft.com/office/drawing/2014/main" id="{DAC3D368-91A0-DE00-3D07-D631CA448C8D}"/>
              </a:ext>
            </a:extLst>
          </p:cNvPr>
          <p:cNvPicPr>
            <a:picLocks noChangeAspect="1"/>
          </p:cNvPicPr>
          <p:nvPr/>
        </p:nvPicPr>
        <p:blipFill>
          <a:blip r:embed="rId2"/>
          <a:stretch>
            <a:fillRect/>
          </a:stretch>
        </p:blipFill>
        <p:spPr>
          <a:xfrm>
            <a:off x="5707110" y="1775267"/>
            <a:ext cx="4610743" cy="1038370"/>
          </a:xfrm>
          <a:prstGeom prst="rect">
            <a:avLst/>
          </a:prstGeom>
          <a:ln>
            <a:noFill/>
          </a:ln>
        </p:spPr>
      </p:pic>
      <p:pic>
        <p:nvPicPr>
          <p:cNvPr id="16" name="Picture 15">
            <a:extLst>
              <a:ext uri="{FF2B5EF4-FFF2-40B4-BE49-F238E27FC236}">
                <a16:creationId xmlns:a16="http://schemas.microsoft.com/office/drawing/2014/main" id="{23CB3C30-F69C-065B-4DF5-FEB4F3B0AAFA}"/>
              </a:ext>
            </a:extLst>
          </p:cNvPr>
          <p:cNvPicPr>
            <a:picLocks noChangeAspect="1"/>
          </p:cNvPicPr>
          <p:nvPr/>
        </p:nvPicPr>
        <p:blipFill>
          <a:blip r:embed="rId3"/>
          <a:stretch>
            <a:fillRect/>
          </a:stretch>
        </p:blipFill>
        <p:spPr>
          <a:xfrm>
            <a:off x="5707109" y="2975809"/>
            <a:ext cx="4610743" cy="1472742"/>
          </a:xfrm>
          <a:prstGeom prst="rect">
            <a:avLst/>
          </a:prstGeom>
          <a:ln>
            <a:noFill/>
          </a:ln>
        </p:spPr>
      </p:pic>
      <p:pic>
        <p:nvPicPr>
          <p:cNvPr id="18" name="Picture 17">
            <a:extLst>
              <a:ext uri="{FF2B5EF4-FFF2-40B4-BE49-F238E27FC236}">
                <a16:creationId xmlns:a16="http://schemas.microsoft.com/office/drawing/2014/main" id="{C50F79F0-8603-21B2-B9BF-E9F0C2925388}"/>
              </a:ext>
            </a:extLst>
          </p:cNvPr>
          <p:cNvPicPr>
            <a:picLocks noChangeAspect="1"/>
          </p:cNvPicPr>
          <p:nvPr/>
        </p:nvPicPr>
        <p:blipFill>
          <a:blip r:embed="rId4"/>
          <a:srcRect/>
          <a:stretch/>
        </p:blipFill>
        <p:spPr>
          <a:xfrm>
            <a:off x="5707108" y="4610723"/>
            <a:ext cx="4610743" cy="1190790"/>
          </a:xfrm>
          <a:prstGeom prst="rect">
            <a:avLst/>
          </a:prstGeom>
          <a:ln>
            <a:noFill/>
          </a:ln>
        </p:spPr>
      </p:pic>
    </p:spTree>
    <p:extLst>
      <p:ext uri="{BB962C8B-B14F-4D97-AF65-F5344CB8AC3E}">
        <p14:creationId xmlns:p14="http://schemas.microsoft.com/office/powerpoint/2010/main" val="37355279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3876E-7541-3A6A-BE3B-5E69F14FDB62}"/>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CC0A4F9-897C-0498-2A3C-16F8CB7A753D}"/>
              </a:ext>
            </a:extLst>
          </p:cNvPr>
          <p:cNvSpPr>
            <a:spLocks noGrp="1"/>
          </p:cNvSpPr>
          <p:nvPr>
            <p:ph idx="1"/>
          </p:nvPr>
        </p:nvSpPr>
        <p:spPr>
          <a:xfrm>
            <a:off x="1094939" y="1996144"/>
            <a:ext cx="10019152" cy="421849"/>
          </a:xfrm>
        </p:spPr>
        <p:txBody>
          <a:bodyPr vert="horz" lIns="0" tIns="0" rIns="0" bIns="0" rtlCol="0" anchor="t">
            <a:normAutofit fontScale="85000" lnSpcReduction="10000"/>
          </a:bodyPr>
          <a:lstStyle/>
          <a:p>
            <a:pPr lvl="2">
              <a:buClr>
                <a:srgbClr val="E90055"/>
              </a:buClr>
              <a:defRPr/>
            </a:pPr>
            <a:r>
              <a:rPr lang="en-US" dirty="0"/>
              <a:t>Policies ‘pending approval’ will be flagged with the appropriate status on the work in progress screen</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endParaRPr lang="en-US" dirty="0"/>
          </a:p>
        </p:txBody>
      </p:sp>
      <p:sp>
        <p:nvSpPr>
          <p:cNvPr id="4" name="Title 3">
            <a:extLst>
              <a:ext uri="{FF2B5EF4-FFF2-40B4-BE49-F238E27FC236}">
                <a16:creationId xmlns:a16="http://schemas.microsoft.com/office/drawing/2014/main" id="{79D94557-7BD3-1C87-FEC8-80BD4E7D0656}"/>
              </a:ext>
            </a:extLst>
          </p:cNvPr>
          <p:cNvSpPr>
            <a:spLocks noGrp="1"/>
          </p:cNvSpPr>
          <p:nvPr>
            <p:ph type="title"/>
          </p:nvPr>
        </p:nvSpPr>
        <p:spPr/>
        <p:txBody>
          <a:bodyPr/>
          <a:lstStyle/>
          <a:p>
            <a:r>
              <a:rPr lang="en-US"/>
              <a:t>Reviewing a Policy</a:t>
            </a:r>
          </a:p>
        </p:txBody>
      </p:sp>
      <p:sp>
        <p:nvSpPr>
          <p:cNvPr id="6" name="Slide Number Placeholder 5">
            <a:extLst>
              <a:ext uri="{FF2B5EF4-FFF2-40B4-BE49-F238E27FC236}">
                <a16:creationId xmlns:a16="http://schemas.microsoft.com/office/drawing/2014/main" id="{CA51FB58-5DC2-89E9-2297-289F67F14E28}"/>
              </a:ext>
            </a:extLst>
          </p:cNvPr>
          <p:cNvSpPr>
            <a:spLocks noGrp="1"/>
          </p:cNvSpPr>
          <p:nvPr>
            <p:ph type="sldNum" sz="quarter" idx="13"/>
          </p:nvPr>
        </p:nvSpPr>
        <p:spPr/>
        <p:txBody>
          <a:bodyPr/>
          <a:lstStyle/>
          <a:p>
            <a:fld id="{44661A95-0089-4306-9485-D330C59FE3ED}" type="slidenum">
              <a:rPr lang="de-DE" smtClean="0"/>
              <a:pPr/>
              <a:t>18</a:t>
            </a:fld>
            <a:endParaRPr lang="de-DE"/>
          </a:p>
        </p:txBody>
      </p:sp>
      <p:pic>
        <p:nvPicPr>
          <p:cNvPr id="5" name="Picture 4">
            <a:extLst>
              <a:ext uri="{FF2B5EF4-FFF2-40B4-BE49-F238E27FC236}">
                <a16:creationId xmlns:a16="http://schemas.microsoft.com/office/drawing/2014/main" id="{0379C0D7-1B53-8CA6-B0EC-E1D1FA2AC03C}"/>
              </a:ext>
            </a:extLst>
          </p:cNvPr>
          <p:cNvPicPr>
            <a:picLocks noChangeAspect="1"/>
          </p:cNvPicPr>
          <p:nvPr/>
        </p:nvPicPr>
        <p:blipFill>
          <a:blip r:embed="rId3"/>
          <a:srcRect/>
          <a:stretch/>
        </p:blipFill>
        <p:spPr>
          <a:xfrm>
            <a:off x="1888367" y="2485298"/>
            <a:ext cx="8408897" cy="1441125"/>
          </a:xfrm>
          <a:prstGeom prst="rect">
            <a:avLst/>
          </a:prstGeom>
          <a:ln>
            <a:noFill/>
          </a:ln>
        </p:spPr>
      </p:pic>
      <p:sp>
        <p:nvSpPr>
          <p:cNvPr id="9" name="Content Placeholder 1">
            <a:extLst>
              <a:ext uri="{FF2B5EF4-FFF2-40B4-BE49-F238E27FC236}">
                <a16:creationId xmlns:a16="http://schemas.microsoft.com/office/drawing/2014/main" id="{2E840D0A-12EF-0FEB-8033-881AE9C72D9B}"/>
              </a:ext>
            </a:extLst>
          </p:cNvPr>
          <p:cNvSpPr txBox="1">
            <a:spLocks/>
          </p:cNvSpPr>
          <p:nvPr/>
        </p:nvSpPr>
        <p:spPr bwMode="gray">
          <a:xfrm>
            <a:off x="1090264" y="4440972"/>
            <a:ext cx="10014478" cy="565820"/>
          </a:xfrm>
          <a:prstGeom prst="rect">
            <a:avLst/>
          </a:prstGeom>
        </p:spPr>
        <p:txBody>
          <a:bodyPr vert="horz" lIns="0" tIns="0" rIns="0" bIns="0" rtlCol="0" anchor="t">
            <a:normAutofit fontScale="85000" lnSpcReduction="20000"/>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baseline="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266700" indent="-266700" algn="l" defTabSz="914400" rtl="0" eaLnBrk="1" latinLnBrk="0" hangingPunct="1">
              <a:lnSpc>
                <a:spcPct val="110000"/>
              </a:lnSpc>
              <a:spcBef>
                <a:spcPts val="600"/>
              </a:spcBef>
              <a:spcAft>
                <a:spcPts val="600"/>
              </a:spcAft>
              <a:buClr>
                <a:schemeClr val="accent1"/>
              </a:buClr>
              <a:buSzPct val="80000"/>
              <a:buFontTx/>
              <a:buBlip>
                <a:blip r:embed="rId2"/>
              </a:buBlip>
              <a:defRPr sz="2000" kern="1200">
                <a:solidFill>
                  <a:schemeClr val="tx1"/>
                </a:solidFill>
                <a:latin typeface="+mn-lt"/>
                <a:ea typeface="+mn-ea"/>
                <a:cs typeface="+mn-cs"/>
              </a:defRPr>
            </a:lvl3pPr>
            <a:lvl4pPr marL="542925" indent="-276225" algn="l" defTabSz="914400" rtl="0" eaLnBrk="1" latinLnBrk="0" hangingPunct="1">
              <a:lnSpc>
                <a:spcPct val="110000"/>
              </a:lnSpc>
              <a:spcBef>
                <a:spcPts val="600"/>
              </a:spcBef>
              <a:spcAft>
                <a:spcPts val="600"/>
              </a:spcAft>
              <a:buClr>
                <a:schemeClr val="accent1"/>
              </a:buClr>
              <a:buSzPct val="80000"/>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600"/>
              </a:spcAft>
              <a:buClr>
                <a:schemeClr val="accent1"/>
              </a:buClr>
              <a:buSzPct val="80000"/>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628650" indent="-268288" algn="l" defTabSz="914400" rtl="0" eaLnBrk="1" latinLnBrk="0" hangingPunct="1">
              <a:lnSpc>
                <a:spcPct val="110000"/>
              </a:lnSpc>
              <a:spcBef>
                <a:spcPts val="600"/>
              </a:spcBef>
              <a:spcAft>
                <a:spcPts val="600"/>
              </a:spcAft>
              <a:buClr>
                <a:schemeClr val="accent1"/>
              </a:buClr>
              <a:buSzPct val="80000"/>
              <a:buFontTx/>
              <a:buBlip>
                <a:blip r:embed="rId2"/>
              </a:buBlip>
              <a:defRPr sz="2000" kern="1200">
                <a:solidFill>
                  <a:schemeClr val="tx1"/>
                </a:solidFill>
                <a:latin typeface="+mn-lt"/>
                <a:ea typeface="+mn-ea"/>
                <a:cs typeface="+mn-cs"/>
              </a:defRPr>
            </a:lvl8pPr>
            <a:lvl9pPr marL="895350" indent="-266700" algn="l" defTabSz="914400" rtl="0" eaLnBrk="1" latinLnBrk="0" hangingPunct="1">
              <a:lnSpc>
                <a:spcPct val="110000"/>
              </a:lnSpc>
              <a:spcBef>
                <a:spcPts val="600"/>
              </a:spcBef>
              <a:spcAft>
                <a:spcPts val="600"/>
              </a:spcAft>
              <a:buClr>
                <a:schemeClr val="accent1"/>
              </a:buClr>
              <a:buSzPct val="80000"/>
              <a:buFontTx/>
              <a:buBlip>
                <a:blip r:embed="rId2"/>
              </a:buBlip>
              <a:defRPr sz="2000" kern="1200">
                <a:solidFill>
                  <a:schemeClr val="tx1"/>
                </a:solidFill>
                <a:latin typeface="+mn-lt"/>
                <a:ea typeface="+mn-ea"/>
                <a:cs typeface="+mn-cs"/>
              </a:defRPr>
            </a:lvl9pPr>
          </a:lstStyle>
          <a:p>
            <a:pPr lvl="2">
              <a:buClr>
                <a:srgbClr val="E90055"/>
              </a:buClr>
              <a:defRPr/>
            </a:pPr>
            <a:r>
              <a:rPr lang="en-US" dirty="0"/>
              <a:t>To begin your review, click into the policy, review all appropriate fields, then click </a:t>
            </a:r>
            <a:r>
              <a:rPr lang="en-US" b="1" dirty="0"/>
              <a:t>‘Start Review’ </a:t>
            </a:r>
            <a:r>
              <a:rPr lang="en-US" dirty="0"/>
              <a:t>in the upper right-hand corner</a:t>
            </a:r>
          </a:p>
          <a:p>
            <a:pPr lvl="2">
              <a:buClr>
                <a:srgbClr val="E90055"/>
              </a:buClr>
              <a:defRPr/>
            </a:pPr>
            <a:endParaRPr lang="en-US" dirty="0"/>
          </a:p>
        </p:txBody>
      </p:sp>
      <p:pic>
        <p:nvPicPr>
          <p:cNvPr id="10" name="Picture 9">
            <a:extLst>
              <a:ext uri="{FF2B5EF4-FFF2-40B4-BE49-F238E27FC236}">
                <a16:creationId xmlns:a16="http://schemas.microsoft.com/office/drawing/2014/main" id="{10C2C05F-2456-C139-FF18-E1063BD4EBFE}"/>
              </a:ext>
            </a:extLst>
          </p:cNvPr>
          <p:cNvPicPr>
            <a:picLocks noChangeAspect="1"/>
          </p:cNvPicPr>
          <p:nvPr/>
        </p:nvPicPr>
        <p:blipFill>
          <a:blip r:embed="rId4"/>
          <a:srcRect/>
          <a:stretch/>
        </p:blipFill>
        <p:spPr>
          <a:xfrm>
            <a:off x="1719733" y="5189939"/>
            <a:ext cx="8753210" cy="823831"/>
          </a:xfrm>
          <a:prstGeom prst="rect">
            <a:avLst/>
          </a:prstGeom>
          <a:ln>
            <a:noFill/>
          </a:ln>
        </p:spPr>
      </p:pic>
    </p:spTree>
    <p:extLst>
      <p:ext uri="{BB962C8B-B14F-4D97-AF65-F5344CB8AC3E}">
        <p14:creationId xmlns:p14="http://schemas.microsoft.com/office/powerpoint/2010/main" val="34782266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F9C0B2-A97A-6B2E-CEF3-305DCE9A8621}"/>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D9E18BA-C00C-E0CB-BB2F-51560221F31B}"/>
              </a:ext>
            </a:extLst>
          </p:cNvPr>
          <p:cNvSpPr>
            <a:spLocks noGrp="1"/>
          </p:cNvSpPr>
          <p:nvPr>
            <p:ph idx="1"/>
          </p:nvPr>
        </p:nvSpPr>
        <p:spPr>
          <a:xfrm>
            <a:off x="6096000" y="1705095"/>
            <a:ext cx="4148546" cy="3781223"/>
          </a:xfrm>
        </p:spPr>
        <p:txBody>
          <a:bodyPr vert="horz" lIns="0" tIns="0" rIns="0" bIns="0" rtlCol="0" anchor="t">
            <a:normAutofit/>
          </a:bodyPr>
          <a:lstStyle/>
          <a:p>
            <a:pPr lvl="2">
              <a:buClr>
                <a:srgbClr val="E90055"/>
              </a:buClr>
              <a:defRPr/>
            </a:pPr>
            <a:r>
              <a:rPr lang="en-US" dirty="0"/>
              <a:t>After clicking </a:t>
            </a:r>
            <a:r>
              <a:rPr lang="en-US" b="1" dirty="0"/>
              <a:t>‘Start Review’ </a:t>
            </a:r>
            <a:r>
              <a:rPr lang="en-US" dirty="0"/>
              <a:t>you will see a pop up on the right-hand side to </a:t>
            </a:r>
            <a:r>
              <a:rPr lang="en-US" b="1" dirty="0"/>
              <a:t>‘Approve’ </a:t>
            </a:r>
            <a:r>
              <a:rPr lang="en-US" dirty="0"/>
              <a:t>or </a:t>
            </a:r>
            <a:r>
              <a:rPr lang="en-US" b="1" dirty="0"/>
              <a:t>‘Deny’ </a:t>
            </a:r>
            <a:r>
              <a:rPr lang="en-US" dirty="0"/>
              <a:t>and add Comments as needed.</a:t>
            </a:r>
          </a:p>
          <a:p>
            <a:pPr lvl="2">
              <a:buClr>
                <a:srgbClr val="E90055"/>
              </a:buClr>
              <a:defRPr/>
            </a:pPr>
            <a:r>
              <a:rPr lang="en-US" dirty="0"/>
              <a:t>Then click </a:t>
            </a:r>
            <a:r>
              <a:rPr lang="en-US" b="1" dirty="0"/>
              <a:t>‘Submit’</a:t>
            </a:r>
          </a:p>
          <a:p>
            <a:pPr lvl="2">
              <a:buClr>
                <a:srgbClr val="E90055"/>
              </a:buClr>
              <a:defRPr/>
            </a:pPr>
            <a:r>
              <a:rPr lang="en-US" dirty="0"/>
              <a:t>This process will need to be completed for all rounds of approval</a:t>
            </a:r>
          </a:p>
          <a:p>
            <a:pPr lvl="2">
              <a:buClr>
                <a:srgbClr val="E90055"/>
              </a:buClr>
              <a:defRPr/>
            </a:pPr>
            <a:endParaRPr lang="en-US" dirty="0"/>
          </a:p>
        </p:txBody>
      </p:sp>
      <p:sp>
        <p:nvSpPr>
          <p:cNvPr id="4" name="Title 3">
            <a:extLst>
              <a:ext uri="{FF2B5EF4-FFF2-40B4-BE49-F238E27FC236}">
                <a16:creationId xmlns:a16="http://schemas.microsoft.com/office/drawing/2014/main" id="{AD660E9A-3088-7C4A-3928-777D4500F4EF}"/>
              </a:ext>
            </a:extLst>
          </p:cNvPr>
          <p:cNvSpPr>
            <a:spLocks noGrp="1"/>
          </p:cNvSpPr>
          <p:nvPr>
            <p:ph type="title"/>
          </p:nvPr>
        </p:nvSpPr>
        <p:spPr/>
        <p:txBody>
          <a:bodyPr/>
          <a:lstStyle/>
          <a:p>
            <a:r>
              <a:rPr lang="en-US"/>
              <a:t>Reviewing a Policy</a:t>
            </a:r>
          </a:p>
        </p:txBody>
      </p:sp>
      <p:sp>
        <p:nvSpPr>
          <p:cNvPr id="6" name="Slide Number Placeholder 5">
            <a:extLst>
              <a:ext uri="{FF2B5EF4-FFF2-40B4-BE49-F238E27FC236}">
                <a16:creationId xmlns:a16="http://schemas.microsoft.com/office/drawing/2014/main" id="{994CCDCE-CE40-27F3-F17F-A21D0344E24E}"/>
              </a:ext>
            </a:extLst>
          </p:cNvPr>
          <p:cNvSpPr>
            <a:spLocks noGrp="1"/>
          </p:cNvSpPr>
          <p:nvPr>
            <p:ph type="sldNum" sz="quarter" idx="13"/>
          </p:nvPr>
        </p:nvSpPr>
        <p:spPr/>
        <p:txBody>
          <a:bodyPr/>
          <a:lstStyle/>
          <a:p>
            <a:fld id="{44661A95-0089-4306-9485-D330C59FE3ED}" type="slidenum">
              <a:rPr lang="de-DE" smtClean="0"/>
              <a:pPr/>
              <a:t>19</a:t>
            </a:fld>
            <a:endParaRPr lang="de-DE"/>
          </a:p>
        </p:txBody>
      </p:sp>
      <p:pic>
        <p:nvPicPr>
          <p:cNvPr id="5" name="Picture 4" descr="A screenshot of a social media post&#10;&#10;AI-generated content may be incorrect.">
            <a:extLst>
              <a:ext uri="{FF2B5EF4-FFF2-40B4-BE49-F238E27FC236}">
                <a16:creationId xmlns:a16="http://schemas.microsoft.com/office/drawing/2014/main" id="{0123626F-FA48-7FE5-1EEC-C533A14AEB29}"/>
              </a:ext>
            </a:extLst>
          </p:cNvPr>
          <p:cNvPicPr>
            <a:picLocks noChangeAspect="1"/>
          </p:cNvPicPr>
          <p:nvPr/>
        </p:nvPicPr>
        <p:blipFill>
          <a:blip r:embed="rId2"/>
          <a:stretch>
            <a:fillRect/>
          </a:stretch>
        </p:blipFill>
        <p:spPr>
          <a:xfrm>
            <a:off x="2311400" y="1705095"/>
            <a:ext cx="1961190" cy="4136904"/>
          </a:xfrm>
          <a:prstGeom prst="rect">
            <a:avLst/>
          </a:prstGeom>
          <a:ln>
            <a:noFill/>
          </a:ln>
        </p:spPr>
      </p:pic>
    </p:spTree>
    <p:extLst>
      <p:ext uri="{BB962C8B-B14F-4D97-AF65-F5344CB8AC3E}">
        <p14:creationId xmlns:p14="http://schemas.microsoft.com/office/powerpoint/2010/main" val="35962406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F773D7BC-3D34-778B-1861-E207616EF752}"/>
              </a:ext>
            </a:extLst>
          </p:cNvPr>
          <p:cNvPicPr>
            <a:picLocks noGrp="1" noChangeAspect="1"/>
          </p:cNvPicPr>
          <p:nvPr>
            <p:ph type="pic" sz="quarter" idx="12"/>
          </p:nvPr>
        </p:nvPicPr>
        <p:blipFill>
          <a:blip r:embed="rId3"/>
          <a:srcRect t="25977" b="17773"/>
          <a:stretch>
            <a:fillRect/>
          </a:stretch>
        </p:blipFill>
        <p:spPr>
          <a:xfrm>
            <a:off x="20" y="10"/>
            <a:ext cx="12191980" cy="6857989"/>
          </a:xfrm>
          <a:noFill/>
        </p:spPr>
      </p:pic>
      <p:sp>
        <p:nvSpPr>
          <p:cNvPr id="3" name="Titel 2">
            <a:extLst>
              <a:ext uri="{FF2B5EF4-FFF2-40B4-BE49-F238E27FC236}">
                <a16:creationId xmlns:a16="http://schemas.microsoft.com/office/drawing/2014/main" id="{4380B636-EC4E-BA6D-9AEC-E5CD5D2472A2}"/>
              </a:ext>
            </a:extLst>
          </p:cNvPr>
          <p:cNvSpPr>
            <a:spLocks noGrp="1"/>
          </p:cNvSpPr>
          <p:nvPr>
            <p:ph type="ctrTitle"/>
          </p:nvPr>
        </p:nvSpPr>
        <p:spPr>
          <a:xfrm>
            <a:off x="1092200" y="3975766"/>
            <a:ext cx="4895850" cy="569387"/>
          </a:xfrm>
        </p:spPr>
        <p:txBody>
          <a:bodyPr wrap="square" anchor="b">
            <a:normAutofit/>
          </a:bodyPr>
          <a:lstStyle/>
          <a:p>
            <a:r>
              <a:rPr lang="de-DE" err="1"/>
              <a:t>Policies</a:t>
            </a:r>
            <a:endParaRPr lang="de-DE" dirty="0" err="1"/>
          </a:p>
        </p:txBody>
      </p:sp>
      <p:sp>
        <p:nvSpPr>
          <p:cNvPr id="2" name="Subtitle 1">
            <a:extLst>
              <a:ext uri="{FF2B5EF4-FFF2-40B4-BE49-F238E27FC236}">
                <a16:creationId xmlns:a16="http://schemas.microsoft.com/office/drawing/2014/main" id="{8D6CC371-AD71-585D-399A-67069EF1452E}"/>
              </a:ext>
            </a:extLst>
          </p:cNvPr>
          <p:cNvSpPr>
            <a:spLocks noGrp="1"/>
          </p:cNvSpPr>
          <p:nvPr>
            <p:ph type="subTitle" idx="1"/>
          </p:nvPr>
        </p:nvSpPr>
        <p:spPr>
          <a:xfrm>
            <a:off x="1092200" y="4761148"/>
            <a:ext cx="4895850" cy="1296752"/>
          </a:xfrm>
        </p:spPr>
        <p:txBody>
          <a:bodyPr wrap="square">
            <a:normAutofit/>
          </a:bodyPr>
          <a:lstStyle/>
          <a:p>
            <a:pPr>
              <a:spcAft>
                <a:spcPts val="600"/>
              </a:spcAft>
            </a:pPr>
            <a:r>
              <a:rPr lang="en-US" dirty="0"/>
              <a:t>Managing Policies</a:t>
            </a:r>
          </a:p>
          <a:p>
            <a:pPr>
              <a:spcAft>
                <a:spcPts val="600"/>
              </a:spcAft>
            </a:pPr>
            <a:r>
              <a:rPr lang="en-US" dirty="0"/>
              <a:t>Training Deck</a:t>
            </a:r>
          </a:p>
        </p:txBody>
      </p:sp>
    </p:spTree>
    <p:extLst>
      <p:ext uri="{BB962C8B-B14F-4D97-AF65-F5344CB8AC3E}">
        <p14:creationId xmlns:p14="http://schemas.microsoft.com/office/powerpoint/2010/main" val="10265282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DA0FBF-95A7-9803-6C4E-A058722AE2F4}"/>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3B86048-5CF2-3E1D-937F-A30AF912819F}"/>
              </a:ext>
            </a:extLst>
          </p:cNvPr>
          <p:cNvSpPr>
            <a:spLocks noGrp="1"/>
          </p:cNvSpPr>
          <p:nvPr>
            <p:ph idx="1"/>
          </p:nvPr>
        </p:nvSpPr>
        <p:spPr>
          <a:xfrm>
            <a:off x="1079039" y="1770393"/>
            <a:ext cx="3939760" cy="3532109"/>
          </a:xfrm>
        </p:spPr>
        <p:txBody>
          <a:bodyPr vert="horz" lIns="0" tIns="0" rIns="0" bIns="0" rtlCol="0" anchor="t">
            <a:normAutofit fontScale="92500"/>
          </a:bodyPr>
          <a:lstStyle/>
          <a:p>
            <a:pPr lvl="2">
              <a:buClr>
                <a:srgbClr val="E90055"/>
              </a:buClr>
              <a:defRPr/>
            </a:pPr>
            <a:r>
              <a:rPr lang="en-US" dirty="0"/>
              <a:t>Once Approved by all necessary users the Policy will be marked as ‘Ready to Publish’ and the approval process will be outlined on the right side of the screen.</a:t>
            </a:r>
          </a:p>
          <a:p>
            <a:pPr lvl="2">
              <a:buClr>
                <a:srgbClr val="E90055"/>
              </a:buClr>
              <a:defRPr/>
            </a:pPr>
            <a:r>
              <a:rPr lang="en-US" dirty="0"/>
              <a:t>The appropriate user can then access the policy and click </a:t>
            </a:r>
            <a:r>
              <a:rPr lang="en-US" b="1" dirty="0"/>
              <a:t>‘Publish.’ </a:t>
            </a:r>
            <a:r>
              <a:rPr lang="en-US" dirty="0"/>
              <a:t>This will assign the policy to all applicable employees and move it to the Published policy tab</a:t>
            </a:r>
          </a:p>
          <a:p>
            <a:pPr marR="0" lvl="3"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endParaRPr lang="en-US" dirty="0"/>
          </a:p>
          <a:p>
            <a:pPr lvl="2">
              <a:buClr>
                <a:srgbClr val="E90055"/>
              </a:buClr>
              <a:defRPr/>
            </a:pPr>
            <a:endParaRPr lang="en-US" dirty="0"/>
          </a:p>
        </p:txBody>
      </p:sp>
      <p:sp>
        <p:nvSpPr>
          <p:cNvPr id="4" name="Title 3">
            <a:extLst>
              <a:ext uri="{FF2B5EF4-FFF2-40B4-BE49-F238E27FC236}">
                <a16:creationId xmlns:a16="http://schemas.microsoft.com/office/drawing/2014/main" id="{7941E651-C1F5-F87A-6967-1ED2F861DC64}"/>
              </a:ext>
            </a:extLst>
          </p:cNvPr>
          <p:cNvSpPr>
            <a:spLocks noGrp="1"/>
          </p:cNvSpPr>
          <p:nvPr>
            <p:ph type="title"/>
          </p:nvPr>
        </p:nvSpPr>
        <p:spPr/>
        <p:txBody>
          <a:bodyPr/>
          <a:lstStyle/>
          <a:p>
            <a:r>
              <a:rPr lang="en-US"/>
              <a:t>Reviewing a Policy</a:t>
            </a:r>
          </a:p>
        </p:txBody>
      </p:sp>
      <p:sp>
        <p:nvSpPr>
          <p:cNvPr id="6" name="Slide Number Placeholder 5">
            <a:extLst>
              <a:ext uri="{FF2B5EF4-FFF2-40B4-BE49-F238E27FC236}">
                <a16:creationId xmlns:a16="http://schemas.microsoft.com/office/drawing/2014/main" id="{BB29E919-8E7E-BC37-F7C5-209DEA689696}"/>
              </a:ext>
            </a:extLst>
          </p:cNvPr>
          <p:cNvSpPr>
            <a:spLocks noGrp="1"/>
          </p:cNvSpPr>
          <p:nvPr>
            <p:ph type="sldNum" sz="quarter" idx="13"/>
          </p:nvPr>
        </p:nvSpPr>
        <p:spPr/>
        <p:txBody>
          <a:bodyPr/>
          <a:lstStyle/>
          <a:p>
            <a:fld id="{44661A95-0089-4306-9485-D330C59FE3ED}" type="slidenum">
              <a:rPr lang="de-DE" smtClean="0"/>
              <a:pPr/>
              <a:t>20</a:t>
            </a:fld>
            <a:endParaRPr lang="de-DE"/>
          </a:p>
        </p:txBody>
      </p:sp>
      <p:pic>
        <p:nvPicPr>
          <p:cNvPr id="7" name="Picture 6" descr="A screenshot of a computer&#10;&#10;AI-generated content may be incorrect.">
            <a:extLst>
              <a:ext uri="{FF2B5EF4-FFF2-40B4-BE49-F238E27FC236}">
                <a16:creationId xmlns:a16="http://schemas.microsoft.com/office/drawing/2014/main" id="{7D857CA9-6C8C-DFFC-2863-5EBC89DEADDA}"/>
              </a:ext>
            </a:extLst>
          </p:cNvPr>
          <p:cNvPicPr>
            <a:picLocks noChangeAspect="1"/>
          </p:cNvPicPr>
          <p:nvPr/>
        </p:nvPicPr>
        <p:blipFill>
          <a:blip r:embed="rId3"/>
          <a:srcRect l="3591" t="9381"/>
          <a:stretch>
            <a:fillRect/>
          </a:stretch>
        </p:blipFill>
        <p:spPr>
          <a:xfrm>
            <a:off x="6094369" y="1770274"/>
            <a:ext cx="3856525" cy="2828230"/>
          </a:xfrm>
          <a:prstGeom prst="rect">
            <a:avLst/>
          </a:prstGeom>
          <a:ln>
            <a:noFill/>
          </a:ln>
        </p:spPr>
      </p:pic>
      <p:pic>
        <p:nvPicPr>
          <p:cNvPr id="8" name="Picture 7" descr="A screenshot of a computer&#10;&#10;AI-generated content may be incorrect.">
            <a:extLst>
              <a:ext uri="{FF2B5EF4-FFF2-40B4-BE49-F238E27FC236}">
                <a16:creationId xmlns:a16="http://schemas.microsoft.com/office/drawing/2014/main" id="{43C89384-A025-1793-3F3C-B36B016AD7DE}"/>
              </a:ext>
            </a:extLst>
          </p:cNvPr>
          <p:cNvPicPr>
            <a:picLocks noChangeAspect="1"/>
          </p:cNvPicPr>
          <p:nvPr/>
        </p:nvPicPr>
        <p:blipFill>
          <a:blip r:embed="rId4"/>
          <a:stretch>
            <a:fillRect/>
          </a:stretch>
        </p:blipFill>
        <p:spPr>
          <a:xfrm>
            <a:off x="2125707" y="5294546"/>
            <a:ext cx="7520387" cy="769246"/>
          </a:xfrm>
          <a:prstGeom prst="rect">
            <a:avLst/>
          </a:prstGeom>
        </p:spPr>
      </p:pic>
    </p:spTree>
    <p:extLst>
      <p:ext uri="{BB962C8B-B14F-4D97-AF65-F5344CB8AC3E}">
        <p14:creationId xmlns:p14="http://schemas.microsoft.com/office/powerpoint/2010/main" val="28810277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F3E48C-151D-8990-5F3B-6BFCFCD1EAB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14285D6-1718-C162-89F5-965C982B60B2}"/>
              </a:ext>
            </a:extLst>
          </p:cNvPr>
          <p:cNvSpPr>
            <a:spLocks noGrp="1"/>
          </p:cNvSpPr>
          <p:nvPr>
            <p:ph idx="1"/>
          </p:nvPr>
        </p:nvSpPr>
        <p:spPr>
          <a:xfrm>
            <a:off x="1092200" y="2159419"/>
            <a:ext cx="3549073" cy="4492336"/>
          </a:xfrm>
        </p:spPr>
        <p:txBody>
          <a:bodyPr vert="horz" lIns="0" tIns="0" rIns="0" bIns="0" rtlCol="0" anchor="t">
            <a:normAutofit/>
          </a:bodyPr>
          <a:lstStyle/>
          <a:p>
            <a:pPr marL="266700" lvl="2" indent="-266700">
              <a:spcAft>
                <a:spcPts val="600"/>
              </a:spcAft>
              <a:buClr>
                <a:srgbClr val="E90055"/>
              </a:buClr>
              <a:buBlip>
                <a:blip r:embed="rId2"/>
              </a:buBlip>
              <a:defRPr/>
            </a:pPr>
            <a:r>
              <a:rPr lang="en-US" dirty="0"/>
              <a:t>On the History tab you can view when that version of the policy was moved through each previous stage prior to publication.</a:t>
            </a:r>
          </a:p>
          <a:p>
            <a:pPr marL="266700" lvl="2" indent="-266700">
              <a:spcAft>
                <a:spcPts val="600"/>
              </a:spcAft>
              <a:buClr>
                <a:srgbClr val="E90055"/>
              </a:buClr>
              <a:buBlip>
                <a:blip r:embed="rId2"/>
              </a:buBlip>
              <a:defRPr/>
            </a:pPr>
            <a:r>
              <a:rPr lang="en-US" dirty="0"/>
              <a:t>On the Versioning tab you can view the previous versions of that policy, the updates that were made, and if re-attestation was required.</a:t>
            </a:r>
          </a:p>
          <a:p>
            <a:pPr marL="0" lvl="2" indent="0">
              <a:buNone/>
            </a:pPr>
            <a:endParaRPr lang="en-US" dirty="0"/>
          </a:p>
          <a:p>
            <a:pPr marL="0" lvl="2" indent="0">
              <a:buNone/>
            </a:pPr>
            <a:endParaRPr lang="en-US" dirty="0"/>
          </a:p>
        </p:txBody>
      </p:sp>
      <p:sp>
        <p:nvSpPr>
          <p:cNvPr id="5" name="Title 4">
            <a:extLst>
              <a:ext uri="{FF2B5EF4-FFF2-40B4-BE49-F238E27FC236}">
                <a16:creationId xmlns:a16="http://schemas.microsoft.com/office/drawing/2014/main" id="{46C93E51-1C35-1A72-416B-419377B244E3}"/>
              </a:ext>
            </a:extLst>
          </p:cNvPr>
          <p:cNvSpPr>
            <a:spLocks noGrp="1"/>
          </p:cNvSpPr>
          <p:nvPr>
            <p:ph type="title"/>
          </p:nvPr>
        </p:nvSpPr>
        <p:spPr/>
        <p:txBody>
          <a:bodyPr/>
          <a:lstStyle/>
          <a:p>
            <a:r>
              <a:rPr lang="en-US"/>
              <a:t>Reviewing a Policy</a:t>
            </a:r>
          </a:p>
        </p:txBody>
      </p:sp>
      <p:sp>
        <p:nvSpPr>
          <p:cNvPr id="6" name="Slide Number Placeholder 5">
            <a:extLst>
              <a:ext uri="{FF2B5EF4-FFF2-40B4-BE49-F238E27FC236}">
                <a16:creationId xmlns:a16="http://schemas.microsoft.com/office/drawing/2014/main" id="{A9A2B548-BF67-A7E3-CB16-3E57EA293F4E}"/>
              </a:ext>
            </a:extLst>
          </p:cNvPr>
          <p:cNvSpPr>
            <a:spLocks noGrp="1"/>
          </p:cNvSpPr>
          <p:nvPr>
            <p:ph type="sldNum" sz="quarter" idx="15"/>
          </p:nvPr>
        </p:nvSpPr>
        <p:spPr/>
        <p:txBody>
          <a:bodyPr/>
          <a:lstStyle/>
          <a:p>
            <a:fld id="{44661A95-0089-4306-9485-D330C59FE3ED}" type="slidenum">
              <a:rPr lang="de-DE" smtClean="0"/>
              <a:pPr/>
              <a:t>21</a:t>
            </a:fld>
            <a:endParaRPr lang="de-DE"/>
          </a:p>
        </p:txBody>
      </p:sp>
      <p:sp>
        <p:nvSpPr>
          <p:cNvPr id="3" name="TextBox 2">
            <a:extLst>
              <a:ext uri="{FF2B5EF4-FFF2-40B4-BE49-F238E27FC236}">
                <a16:creationId xmlns:a16="http://schemas.microsoft.com/office/drawing/2014/main" id="{4433B50D-1C07-522F-AB64-228A30EA9FB7}"/>
              </a:ext>
            </a:extLst>
          </p:cNvPr>
          <p:cNvSpPr txBox="1"/>
          <p:nvPr/>
        </p:nvSpPr>
        <p:spPr bwMode="gray">
          <a:xfrm>
            <a:off x="4395019" y="1047135"/>
            <a:ext cx="0" cy="0"/>
          </a:xfrm>
          <a:prstGeom prst="rect">
            <a:avLst/>
          </a:prstGeom>
          <a:noFill/>
        </p:spPr>
        <p:txBody>
          <a:bodyPr wrap="none" lIns="0" tIns="0" rIns="0" bIns="0" rtlCol="0">
            <a:noAutofit/>
          </a:bodyPr>
          <a:lstStyle/>
          <a:p>
            <a:pPr algn="l">
              <a:lnSpc>
                <a:spcPct val="110000"/>
              </a:lnSpc>
              <a:spcAft>
                <a:spcPts val="600"/>
              </a:spcAft>
              <a:buClr>
                <a:schemeClr val="accent1"/>
              </a:buClr>
            </a:pPr>
            <a:endParaRPr lang="en-US" sz="2000"/>
          </a:p>
        </p:txBody>
      </p:sp>
      <p:pic>
        <p:nvPicPr>
          <p:cNvPr id="8" name="Picture 7" descr="A screenshot of a computer&#10;&#10;AI-generated content may be incorrect.">
            <a:extLst>
              <a:ext uri="{FF2B5EF4-FFF2-40B4-BE49-F238E27FC236}">
                <a16:creationId xmlns:a16="http://schemas.microsoft.com/office/drawing/2014/main" id="{806CD41D-E12A-8FB9-6E82-232019CE66A5}"/>
              </a:ext>
            </a:extLst>
          </p:cNvPr>
          <p:cNvPicPr>
            <a:picLocks noChangeAspect="1"/>
          </p:cNvPicPr>
          <p:nvPr/>
        </p:nvPicPr>
        <p:blipFill>
          <a:blip r:embed="rId3"/>
          <a:stretch>
            <a:fillRect/>
          </a:stretch>
        </p:blipFill>
        <p:spPr>
          <a:xfrm>
            <a:off x="5145653" y="2160050"/>
            <a:ext cx="2961248" cy="3476481"/>
          </a:xfrm>
          <a:prstGeom prst="rect">
            <a:avLst/>
          </a:prstGeom>
          <a:ln>
            <a:noFill/>
          </a:ln>
        </p:spPr>
      </p:pic>
      <p:pic>
        <p:nvPicPr>
          <p:cNvPr id="9" name="Picture 8" descr="A screenshot of a computer&#10;&#10;AI-generated content may be incorrect.">
            <a:extLst>
              <a:ext uri="{FF2B5EF4-FFF2-40B4-BE49-F238E27FC236}">
                <a16:creationId xmlns:a16="http://schemas.microsoft.com/office/drawing/2014/main" id="{B2D239C4-F2A9-4317-29FD-65C4320C3130}"/>
              </a:ext>
            </a:extLst>
          </p:cNvPr>
          <p:cNvPicPr>
            <a:picLocks noChangeAspect="1"/>
          </p:cNvPicPr>
          <p:nvPr/>
        </p:nvPicPr>
        <p:blipFill>
          <a:blip r:embed="rId4"/>
          <a:stretch>
            <a:fillRect/>
          </a:stretch>
        </p:blipFill>
        <p:spPr>
          <a:xfrm>
            <a:off x="8417509" y="2160014"/>
            <a:ext cx="2679776" cy="3499715"/>
          </a:xfrm>
          <a:prstGeom prst="rect">
            <a:avLst/>
          </a:prstGeom>
          <a:ln>
            <a:noFill/>
          </a:ln>
        </p:spPr>
      </p:pic>
    </p:spTree>
    <p:extLst>
      <p:ext uri="{BB962C8B-B14F-4D97-AF65-F5344CB8AC3E}">
        <p14:creationId xmlns:p14="http://schemas.microsoft.com/office/powerpoint/2010/main" val="9190448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347A9B-ABB2-B8A0-5FB0-2F0C20D432A0}"/>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2CB7B90D-59C6-8582-11C6-83D269FEADCF}"/>
              </a:ext>
            </a:extLst>
          </p:cNvPr>
          <p:cNvSpPr>
            <a:spLocks noGrp="1"/>
          </p:cNvSpPr>
          <p:nvPr>
            <p:ph type="body" idx="1"/>
          </p:nvPr>
        </p:nvSpPr>
        <p:spPr bwMode="gray">
          <a:xfrm>
            <a:off x="1092200" y="1412875"/>
            <a:ext cx="5111750" cy="4356385"/>
          </a:xfrm>
        </p:spPr>
        <p:txBody>
          <a:bodyPr/>
          <a:lstStyle/>
          <a:p>
            <a:r>
              <a:rPr lang="en-US" dirty="0">
                <a:latin typeface="Barlow ExtraBold"/>
              </a:rPr>
              <a:t>Editing a Published Policy</a:t>
            </a:r>
          </a:p>
        </p:txBody>
      </p:sp>
      <p:sp>
        <p:nvSpPr>
          <p:cNvPr id="8" name="Textplatzhalter 7">
            <a:extLst>
              <a:ext uri="{FF2B5EF4-FFF2-40B4-BE49-F238E27FC236}">
                <a16:creationId xmlns:a16="http://schemas.microsoft.com/office/drawing/2014/main" id="{D2C71250-BC39-C14E-617D-101301B0AAC0}"/>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p>
        </p:txBody>
      </p:sp>
      <p:sp>
        <p:nvSpPr>
          <p:cNvPr id="19" name="Titel 18">
            <a:extLst>
              <a:ext uri="{FF2B5EF4-FFF2-40B4-BE49-F238E27FC236}">
                <a16:creationId xmlns:a16="http://schemas.microsoft.com/office/drawing/2014/main" id="{BC8982FC-748B-2E8C-9207-C4F3A55652FA}"/>
              </a:ext>
            </a:extLst>
          </p:cNvPr>
          <p:cNvSpPr>
            <a:spLocks noGrp="1"/>
          </p:cNvSpPr>
          <p:nvPr>
            <p:ph type="title"/>
          </p:nvPr>
        </p:nvSpPr>
        <p:spPr/>
        <p:txBody>
          <a:bodyPr/>
          <a:lstStyle/>
          <a:p>
            <a:r>
              <a:rPr lang="de-DE"/>
              <a:t>04</a:t>
            </a:r>
          </a:p>
        </p:txBody>
      </p:sp>
    </p:spTree>
    <p:extLst>
      <p:ext uri="{BB962C8B-B14F-4D97-AF65-F5344CB8AC3E}">
        <p14:creationId xmlns:p14="http://schemas.microsoft.com/office/powerpoint/2010/main" val="16264305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F24238-77FC-455D-3A0B-A2A33C0066C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21B5EFB-2EE2-7FE5-586E-40D0E3020A0B}"/>
              </a:ext>
            </a:extLst>
          </p:cNvPr>
          <p:cNvSpPr>
            <a:spLocks noGrp="1"/>
          </p:cNvSpPr>
          <p:nvPr>
            <p:ph type="title"/>
          </p:nvPr>
        </p:nvSpPr>
        <p:spPr/>
        <p:txBody>
          <a:bodyPr/>
          <a:lstStyle/>
          <a:p>
            <a:r>
              <a:rPr lang="en-US" dirty="0">
                <a:latin typeface="Barlow ExtraBold"/>
              </a:rPr>
              <a:t>Editing A Published Policy</a:t>
            </a:r>
            <a:endParaRPr lang="en-US" dirty="0"/>
          </a:p>
        </p:txBody>
      </p:sp>
      <p:sp>
        <p:nvSpPr>
          <p:cNvPr id="5" name="Subtitle 4">
            <a:extLst>
              <a:ext uri="{FF2B5EF4-FFF2-40B4-BE49-F238E27FC236}">
                <a16:creationId xmlns:a16="http://schemas.microsoft.com/office/drawing/2014/main" id="{933042CB-6B98-B5F2-0702-776A041B7620}"/>
              </a:ext>
            </a:extLst>
          </p:cNvPr>
          <p:cNvSpPr>
            <a:spLocks noGrp="1"/>
          </p:cNvSpPr>
          <p:nvPr>
            <p:ph type="subTitle" idx="12"/>
          </p:nvPr>
        </p:nvSpPr>
        <p:spPr/>
        <p:txBody>
          <a:bodyPr/>
          <a:lstStyle/>
          <a:p>
            <a:r>
              <a:rPr lang="en-US"/>
              <a:t>Making small changes to a policy</a:t>
            </a:r>
          </a:p>
        </p:txBody>
      </p:sp>
      <p:sp>
        <p:nvSpPr>
          <p:cNvPr id="6" name="Slide Number Placeholder 5">
            <a:extLst>
              <a:ext uri="{FF2B5EF4-FFF2-40B4-BE49-F238E27FC236}">
                <a16:creationId xmlns:a16="http://schemas.microsoft.com/office/drawing/2014/main" id="{4F0759F1-FA53-10F9-1236-8F141D5BAD8E}"/>
              </a:ext>
            </a:extLst>
          </p:cNvPr>
          <p:cNvSpPr>
            <a:spLocks noGrp="1"/>
          </p:cNvSpPr>
          <p:nvPr>
            <p:ph type="sldNum" sz="quarter" idx="13"/>
          </p:nvPr>
        </p:nvSpPr>
        <p:spPr/>
        <p:txBody>
          <a:bodyPr/>
          <a:lstStyle/>
          <a:p>
            <a:fld id="{44661A95-0089-4306-9485-D330C59FE3ED}" type="slidenum">
              <a:rPr lang="de-DE" smtClean="0"/>
              <a:pPr/>
              <a:t>23</a:t>
            </a:fld>
            <a:endParaRPr lang="de-DE"/>
          </a:p>
        </p:txBody>
      </p:sp>
      <p:pic>
        <p:nvPicPr>
          <p:cNvPr id="9" name="Picture 8">
            <a:extLst>
              <a:ext uri="{FF2B5EF4-FFF2-40B4-BE49-F238E27FC236}">
                <a16:creationId xmlns:a16="http://schemas.microsoft.com/office/drawing/2014/main" id="{7AB17D52-9030-5463-B830-B1B04EAA652D}"/>
              </a:ext>
            </a:extLst>
          </p:cNvPr>
          <p:cNvPicPr>
            <a:picLocks noChangeAspect="1"/>
          </p:cNvPicPr>
          <p:nvPr/>
        </p:nvPicPr>
        <p:blipFill>
          <a:blip r:embed="rId2"/>
          <a:srcRect l="-207" r="6676"/>
          <a:stretch>
            <a:fillRect/>
          </a:stretch>
        </p:blipFill>
        <p:spPr>
          <a:xfrm>
            <a:off x="1108612" y="2523481"/>
            <a:ext cx="10024425" cy="1103983"/>
          </a:xfrm>
          <a:prstGeom prst="rect">
            <a:avLst/>
          </a:prstGeom>
          <a:ln>
            <a:noFill/>
          </a:ln>
        </p:spPr>
      </p:pic>
      <p:sp>
        <p:nvSpPr>
          <p:cNvPr id="7" name="Text Placeholder 3">
            <a:extLst>
              <a:ext uri="{FF2B5EF4-FFF2-40B4-BE49-F238E27FC236}">
                <a16:creationId xmlns:a16="http://schemas.microsoft.com/office/drawing/2014/main" id="{7AD501F4-B08F-B43D-8597-8AA58DAF73CA}"/>
              </a:ext>
            </a:extLst>
          </p:cNvPr>
          <p:cNvSpPr txBox="1">
            <a:spLocks/>
          </p:cNvSpPr>
          <p:nvPr/>
        </p:nvSpPr>
        <p:spPr>
          <a:xfrm>
            <a:off x="1087525" y="4040055"/>
            <a:ext cx="10012275" cy="1908800"/>
          </a:xfrm>
          <a:prstGeom prst="rect">
            <a:avLst/>
          </a:prstGeom>
        </p:spPr>
        <p:txBody>
          <a:bodyPr lIns="91440" tIns="45720" rIns="91440" bIns="45720" anchor="t">
            <a:no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2">
              <a:spcAft>
                <a:spcPts val="600"/>
              </a:spcAft>
              <a:buClr>
                <a:srgbClr val="E90055"/>
              </a:buClr>
              <a:buBlip>
                <a:blip r:embed="rId4"/>
              </a:buBlip>
              <a:defRPr/>
            </a:pPr>
            <a:r>
              <a:rPr lang="en-US" sz="1800" dirty="0"/>
              <a:t>The Policies module allows you to make a small change to an already-published version – for example to correct a typo.</a:t>
            </a:r>
          </a:p>
          <a:p>
            <a:pPr lvl="2">
              <a:spcAft>
                <a:spcPts val="600"/>
              </a:spcAft>
              <a:buClr>
                <a:srgbClr val="E90055"/>
              </a:buClr>
              <a:buBlip>
                <a:blip r:embed="rId4"/>
              </a:buBlip>
              <a:defRPr/>
            </a:pPr>
            <a:r>
              <a:rPr lang="en-US" sz="1800" dirty="0"/>
              <a:t>Click on the </a:t>
            </a:r>
            <a:r>
              <a:rPr lang="en-US" sz="1800" b="1" dirty="0"/>
              <a:t>‘Ellipses’ </a:t>
            </a:r>
            <a:r>
              <a:rPr lang="en-US" sz="1800" dirty="0"/>
              <a:t>in the upper right corner and select </a:t>
            </a:r>
            <a:r>
              <a:rPr lang="en-US" sz="1800" b="1" dirty="0"/>
              <a:t>‘Edit a Policy’ </a:t>
            </a:r>
            <a:r>
              <a:rPr lang="en-US" sz="1800" dirty="0"/>
              <a:t>to make a small change without creating a new version or restarting attestation. No notifications will be sent out. All changes will be logged in the policy history.</a:t>
            </a:r>
          </a:p>
          <a:p>
            <a:pPr marL="266700" lvl="2" indent="-266700">
              <a:spcAft>
                <a:spcPts val="600"/>
              </a:spcAft>
              <a:buClr>
                <a:srgbClr val="E90055"/>
              </a:buClr>
              <a:buFontTx/>
              <a:buBlip>
                <a:blip r:embed="rId4"/>
              </a:buBlip>
              <a:defRPr/>
            </a:pPr>
            <a:endParaRPr lang="en-US" dirty="0"/>
          </a:p>
        </p:txBody>
      </p:sp>
    </p:spTree>
    <p:extLst>
      <p:ext uri="{BB962C8B-B14F-4D97-AF65-F5344CB8AC3E}">
        <p14:creationId xmlns:p14="http://schemas.microsoft.com/office/powerpoint/2010/main" val="37859415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3C101E4-A36F-7D00-B2C3-48D53808ACDF}"/>
              </a:ext>
            </a:extLst>
          </p:cNvPr>
          <p:cNvSpPr>
            <a:spLocks noGrp="1"/>
          </p:cNvSpPr>
          <p:nvPr>
            <p:ph type="body" sz="quarter" idx="15"/>
          </p:nvPr>
        </p:nvSpPr>
        <p:spPr>
          <a:xfrm>
            <a:off x="1092200" y="5105920"/>
            <a:ext cx="10007601" cy="728110"/>
          </a:xfrm>
        </p:spPr>
        <p:txBody>
          <a:bodyPr>
            <a:normAutofit/>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Once in edit mode, click </a:t>
            </a:r>
            <a:r>
              <a:rPr lang="en-US" b="1" dirty="0"/>
              <a:t>‘Edit’ </a:t>
            </a:r>
            <a:r>
              <a:rPr lang="en-US" dirty="0"/>
              <a:t>to the right of ‘Policy data’ to step through and make small edits.</a:t>
            </a:r>
          </a:p>
        </p:txBody>
      </p:sp>
      <p:sp>
        <p:nvSpPr>
          <p:cNvPr id="6" name="Title 5">
            <a:extLst>
              <a:ext uri="{FF2B5EF4-FFF2-40B4-BE49-F238E27FC236}">
                <a16:creationId xmlns:a16="http://schemas.microsoft.com/office/drawing/2014/main" id="{CD8CE02A-4948-AD82-8A9F-3006330FF24D}"/>
              </a:ext>
            </a:extLst>
          </p:cNvPr>
          <p:cNvSpPr>
            <a:spLocks noGrp="1"/>
          </p:cNvSpPr>
          <p:nvPr>
            <p:ph type="title"/>
          </p:nvPr>
        </p:nvSpPr>
        <p:spPr/>
        <p:txBody>
          <a:bodyPr/>
          <a:lstStyle/>
          <a:p>
            <a:r>
              <a:rPr lang="en-US" dirty="0">
                <a:latin typeface="Barlow ExtraBold"/>
              </a:rPr>
              <a:t>Editing A Published Policy</a:t>
            </a:r>
            <a:endParaRPr lang="en-US" dirty="0"/>
          </a:p>
        </p:txBody>
      </p:sp>
      <p:sp>
        <p:nvSpPr>
          <p:cNvPr id="7" name="Slide Number Placeholder 6">
            <a:extLst>
              <a:ext uri="{FF2B5EF4-FFF2-40B4-BE49-F238E27FC236}">
                <a16:creationId xmlns:a16="http://schemas.microsoft.com/office/drawing/2014/main" id="{7256D887-4A44-C78D-64FF-F515792A9B1B}"/>
              </a:ext>
            </a:extLst>
          </p:cNvPr>
          <p:cNvSpPr>
            <a:spLocks noGrp="1"/>
          </p:cNvSpPr>
          <p:nvPr>
            <p:ph type="sldNum" sz="quarter" idx="17"/>
          </p:nvPr>
        </p:nvSpPr>
        <p:spPr/>
        <p:txBody>
          <a:bodyPr/>
          <a:lstStyle/>
          <a:p>
            <a:fld id="{44661A95-0089-4306-9485-D330C59FE3ED}" type="slidenum">
              <a:rPr lang="de-DE" smtClean="0"/>
              <a:pPr/>
              <a:t>24</a:t>
            </a:fld>
            <a:endParaRPr lang="de-DE"/>
          </a:p>
        </p:txBody>
      </p:sp>
      <p:pic>
        <p:nvPicPr>
          <p:cNvPr id="16" name="Picture 15">
            <a:extLst>
              <a:ext uri="{FF2B5EF4-FFF2-40B4-BE49-F238E27FC236}">
                <a16:creationId xmlns:a16="http://schemas.microsoft.com/office/drawing/2014/main" id="{60B263A2-1482-EF12-5617-704C14A4C4D2}"/>
              </a:ext>
            </a:extLst>
          </p:cNvPr>
          <p:cNvPicPr>
            <a:picLocks noChangeAspect="1"/>
          </p:cNvPicPr>
          <p:nvPr/>
        </p:nvPicPr>
        <p:blipFill>
          <a:blip r:embed="rId3"/>
          <a:stretch>
            <a:fillRect/>
          </a:stretch>
        </p:blipFill>
        <p:spPr>
          <a:xfrm>
            <a:off x="1351577" y="2113509"/>
            <a:ext cx="9485264" cy="2630564"/>
          </a:xfrm>
          <a:prstGeom prst="rect">
            <a:avLst/>
          </a:prstGeom>
          <a:ln>
            <a:noFill/>
          </a:ln>
        </p:spPr>
      </p:pic>
    </p:spTree>
    <p:extLst>
      <p:ext uri="{BB962C8B-B14F-4D97-AF65-F5344CB8AC3E}">
        <p14:creationId xmlns:p14="http://schemas.microsoft.com/office/powerpoint/2010/main" val="14469145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61106D3-2728-0FB5-DAB4-D618C860E416}"/>
              </a:ext>
            </a:extLst>
          </p:cNvPr>
          <p:cNvSpPr>
            <a:spLocks noGrp="1"/>
          </p:cNvSpPr>
          <p:nvPr>
            <p:ph idx="1"/>
          </p:nvPr>
        </p:nvSpPr>
        <p:spPr>
          <a:xfrm>
            <a:off x="1092200" y="1785537"/>
            <a:ext cx="4089400" cy="4415892"/>
          </a:xfrm>
        </p:spPr>
        <p:txBody>
          <a:bodyPr vert="horz" lIns="0" tIns="0" rIns="0" bIns="0" rtlCol="0" anchor="t">
            <a:normAutofit/>
          </a:bodyPr>
          <a:lstStyle/>
          <a:p>
            <a:pPr marL="266700" lvl="2" indent="-266700">
              <a:spcAft>
                <a:spcPts val="600"/>
              </a:spcAft>
              <a:buClr>
                <a:srgbClr val="E90055"/>
              </a:buClr>
              <a:buBlip>
                <a:blip r:embed="rId2"/>
              </a:buBlip>
              <a:defRPr/>
            </a:pPr>
            <a:r>
              <a:rPr lang="en-US" dirty="0"/>
              <a:t>After updates are made, a pop-up window will summarize the changes that have been made. You can edit this text as needed. Then click </a:t>
            </a:r>
            <a:r>
              <a:rPr lang="en-US" b="1" dirty="0"/>
              <a:t>‘Update policy.’</a:t>
            </a:r>
          </a:p>
          <a:p>
            <a:pPr marL="0" lvl="2" indent="0">
              <a:spcAft>
                <a:spcPts val="600"/>
              </a:spcAft>
              <a:buClr>
                <a:srgbClr val="E90055"/>
              </a:buClr>
              <a:buNone/>
              <a:defRPr/>
            </a:pPr>
            <a:endParaRPr lang="en-US" dirty="0"/>
          </a:p>
          <a:p>
            <a:pPr marL="266700" lvl="2" indent="-266700">
              <a:spcAft>
                <a:spcPts val="600"/>
              </a:spcAft>
              <a:buClr>
                <a:srgbClr val="E90055"/>
              </a:buClr>
              <a:buBlip>
                <a:blip r:embed="rId2"/>
              </a:buBlip>
              <a:defRPr/>
            </a:pPr>
            <a:r>
              <a:rPr lang="en-US" dirty="0"/>
              <a:t>The summary of changes will then be displayed in the policy History tab.</a:t>
            </a:r>
          </a:p>
        </p:txBody>
      </p:sp>
      <p:sp>
        <p:nvSpPr>
          <p:cNvPr id="5" name="Title 4">
            <a:extLst>
              <a:ext uri="{FF2B5EF4-FFF2-40B4-BE49-F238E27FC236}">
                <a16:creationId xmlns:a16="http://schemas.microsoft.com/office/drawing/2014/main" id="{62DA1F79-6747-2DA1-BFFD-3ECA3859D7E7}"/>
              </a:ext>
            </a:extLst>
          </p:cNvPr>
          <p:cNvSpPr>
            <a:spLocks noGrp="1"/>
          </p:cNvSpPr>
          <p:nvPr>
            <p:ph type="title"/>
          </p:nvPr>
        </p:nvSpPr>
        <p:spPr>
          <a:xfrm>
            <a:off x="1092200" y="532512"/>
            <a:ext cx="7976555" cy="1127145"/>
          </a:xfrm>
        </p:spPr>
        <p:txBody>
          <a:bodyPr/>
          <a:lstStyle/>
          <a:p>
            <a:r>
              <a:rPr lang="en-US" dirty="0">
                <a:latin typeface="Barlow ExtraBold"/>
              </a:rPr>
              <a:t>Editing A Published Policy</a:t>
            </a:r>
            <a:endParaRPr lang="en-US" dirty="0"/>
          </a:p>
        </p:txBody>
      </p:sp>
      <p:sp>
        <p:nvSpPr>
          <p:cNvPr id="6" name="Slide Number Placeholder 5">
            <a:extLst>
              <a:ext uri="{FF2B5EF4-FFF2-40B4-BE49-F238E27FC236}">
                <a16:creationId xmlns:a16="http://schemas.microsoft.com/office/drawing/2014/main" id="{B6B89FA8-D37A-E877-DA87-5D094A3295F0}"/>
              </a:ext>
            </a:extLst>
          </p:cNvPr>
          <p:cNvSpPr>
            <a:spLocks noGrp="1"/>
          </p:cNvSpPr>
          <p:nvPr>
            <p:ph type="sldNum" sz="quarter" idx="15"/>
          </p:nvPr>
        </p:nvSpPr>
        <p:spPr/>
        <p:txBody>
          <a:bodyPr/>
          <a:lstStyle/>
          <a:p>
            <a:fld id="{44661A95-0089-4306-9485-D330C59FE3ED}" type="slidenum">
              <a:rPr lang="de-DE" smtClean="0"/>
              <a:pPr/>
              <a:t>25</a:t>
            </a:fld>
            <a:endParaRPr lang="de-DE"/>
          </a:p>
        </p:txBody>
      </p:sp>
      <p:pic>
        <p:nvPicPr>
          <p:cNvPr id="4" name="Picture 3">
            <a:extLst>
              <a:ext uri="{FF2B5EF4-FFF2-40B4-BE49-F238E27FC236}">
                <a16:creationId xmlns:a16="http://schemas.microsoft.com/office/drawing/2014/main" id="{7A3E02D4-AE6C-6EF1-1134-999BE801266C}"/>
              </a:ext>
            </a:extLst>
          </p:cNvPr>
          <p:cNvPicPr>
            <a:picLocks noChangeAspect="1"/>
          </p:cNvPicPr>
          <p:nvPr/>
        </p:nvPicPr>
        <p:blipFill>
          <a:blip r:embed="rId3"/>
          <a:srcRect l="1984" t="8085" r="2705" b="20236"/>
          <a:stretch>
            <a:fillRect/>
          </a:stretch>
        </p:blipFill>
        <p:spPr>
          <a:xfrm>
            <a:off x="6242323" y="1785239"/>
            <a:ext cx="3187695" cy="1360365"/>
          </a:xfrm>
          <a:prstGeom prst="rect">
            <a:avLst/>
          </a:prstGeom>
          <a:ln>
            <a:noFill/>
          </a:ln>
        </p:spPr>
      </p:pic>
      <p:pic>
        <p:nvPicPr>
          <p:cNvPr id="8" name="Picture 7">
            <a:extLst>
              <a:ext uri="{FF2B5EF4-FFF2-40B4-BE49-F238E27FC236}">
                <a16:creationId xmlns:a16="http://schemas.microsoft.com/office/drawing/2014/main" id="{2D21D905-D797-58E5-7112-B1DB24113CED}"/>
              </a:ext>
            </a:extLst>
          </p:cNvPr>
          <p:cNvPicPr>
            <a:picLocks noChangeAspect="1"/>
          </p:cNvPicPr>
          <p:nvPr/>
        </p:nvPicPr>
        <p:blipFill>
          <a:blip r:embed="rId4"/>
          <a:stretch>
            <a:fillRect/>
          </a:stretch>
        </p:blipFill>
        <p:spPr>
          <a:xfrm>
            <a:off x="6645509" y="3267899"/>
            <a:ext cx="2380296" cy="2934783"/>
          </a:xfrm>
          <a:prstGeom prst="rect">
            <a:avLst/>
          </a:prstGeom>
          <a:ln>
            <a:noFill/>
          </a:ln>
        </p:spPr>
      </p:pic>
    </p:spTree>
    <p:extLst>
      <p:ext uri="{BB962C8B-B14F-4D97-AF65-F5344CB8AC3E}">
        <p14:creationId xmlns:p14="http://schemas.microsoft.com/office/powerpoint/2010/main" val="31701013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A7018A-7246-E615-93E1-D22E0F80F1BA}"/>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D4C128AF-4D45-CD6F-4354-2E20CD9C4192}"/>
              </a:ext>
            </a:extLst>
          </p:cNvPr>
          <p:cNvSpPr>
            <a:spLocks noGrp="1"/>
          </p:cNvSpPr>
          <p:nvPr>
            <p:ph type="body" idx="1"/>
          </p:nvPr>
        </p:nvSpPr>
        <p:spPr bwMode="gray">
          <a:xfrm>
            <a:off x="1092199" y="1412875"/>
            <a:ext cx="5834693" cy="4356385"/>
          </a:xfrm>
        </p:spPr>
        <p:txBody>
          <a:bodyPr/>
          <a:lstStyle/>
          <a:p>
            <a:r>
              <a:rPr lang="de-DE" dirty="0">
                <a:latin typeface="Barlow ExtraBold"/>
              </a:rPr>
              <a:t>Creating a New Version of a Published Policy</a:t>
            </a:r>
            <a:endParaRPr lang="de-DE" dirty="0"/>
          </a:p>
        </p:txBody>
      </p:sp>
      <p:sp>
        <p:nvSpPr>
          <p:cNvPr id="8" name="Textplatzhalter 7">
            <a:extLst>
              <a:ext uri="{FF2B5EF4-FFF2-40B4-BE49-F238E27FC236}">
                <a16:creationId xmlns:a16="http://schemas.microsoft.com/office/drawing/2014/main" id="{6C3AE93E-202E-BBB7-972E-0E0C7AD68152}"/>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p>
        </p:txBody>
      </p:sp>
      <p:sp>
        <p:nvSpPr>
          <p:cNvPr id="20" name="Titel 19">
            <a:extLst>
              <a:ext uri="{FF2B5EF4-FFF2-40B4-BE49-F238E27FC236}">
                <a16:creationId xmlns:a16="http://schemas.microsoft.com/office/drawing/2014/main" id="{4D7B5F76-F51B-C8D0-55F9-7E8485A3A497}"/>
              </a:ext>
            </a:extLst>
          </p:cNvPr>
          <p:cNvSpPr>
            <a:spLocks noGrp="1"/>
          </p:cNvSpPr>
          <p:nvPr>
            <p:ph type="title"/>
          </p:nvPr>
        </p:nvSpPr>
        <p:spPr/>
        <p:txBody>
          <a:bodyPr/>
          <a:lstStyle/>
          <a:p>
            <a:r>
              <a:rPr lang="de-DE" dirty="0"/>
              <a:t>05</a:t>
            </a:r>
          </a:p>
        </p:txBody>
      </p:sp>
    </p:spTree>
    <p:extLst>
      <p:ext uri="{BB962C8B-B14F-4D97-AF65-F5344CB8AC3E}">
        <p14:creationId xmlns:p14="http://schemas.microsoft.com/office/powerpoint/2010/main" val="31633576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569F9356-902E-1AB6-EB08-BA53835A0496}"/>
              </a:ext>
            </a:extLst>
          </p:cNvPr>
          <p:cNvSpPr>
            <a:spLocks noGrp="1"/>
          </p:cNvSpPr>
          <p:nvPr>
            <p:ph idx="1"/>
          </p:nvPr>
        </p:nvSpPr>
        <p:spPr>
          <a:xfrm>
            <a:off x="1092200" y="2312876"/>
            <a:ext cx="5003800" cy="3745024"/>
          </a:xfrm>
        </p:spPr>
        <p:txBody>
          <a:bodyPr vert="horz" lIns="0" tIns="0" rIns="0" bIns="0" rtlCol="0" anchor="t">
            <a:normAutofit/>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Using the same ellipses menu, you can </a:t>
            </a:r>
            <a:r>
              <a:rPr lang="en-US" b="1" dirty="0"/>
              <a:t>‘Create new version’ </a:t>
            </a:r>
            <a:r>
              <a:rPr lang="en-US" dirty="0"/>
              <a:t>of a policy.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When creating a new version, you can make major edits to the policy.</a:t>
            </a:r>
          </a:p>
          <a:p>
            <a:pPr lvl="3" indent="-266700">
              <a:buClr>
                <a:srgbClr val="E90055"/>
              </a:buClr>
              <a:defRPr/>
            </a:pPr>
            <a:endParaRPr lang="en-US" dirty="0"/>
          </a:p>
          <a:p>
            <a:pPr marL="276225" lvl="3" indent="0">
              <a:buClr>
                <a:srgbClr val="E90055"/>
              </a:buClr>
              <a:buNone/>
              <a:defRPr/>
            </a:pPr>
            <a:endParaRPr lang="en-US" dirty="0"/>
          </a:p>
        </p:txBody>
      </p:sp>
      <p:sp>
        <p:nvSpPr>
          <p:cNvPr id="5" name="Title 4">
            <a:extLst>
              <a:ext uri="{FF2B5EF4-FFF2-40B4-BE49-F238E27FC236}">
                <a16:creationId xmlns:a16="http://schemas.microsoft.com/office/drawing/2014/main" id="{949A8FE5-DB36-03C8-778A-7774605D0E63}"/>
              </a:ext>
            </a:extLst>
          </p:cNvPr>
          <p:cNvSpPr>
            <a:spLocks noGrp="1"/>
          </p:cNvSpPr>
          <p:nvPr>
            <p:ph type="title"/>
          </p:nvPr>
        </p:nvSpPr>
        <p:spPr/>
        <p:txBody>
          <a:bodyPr/>
          <a:lstStyle/>
          <a:p>
            <a:r>
              <a:rPr lang="en-US" dirty="0">
                <a:latin typeface="Barlow ExtraBold"/>
              </a:rPr>
              <a:t>Creating a New Version of a Published Policy</a:t>
            </a:r>
            <a:endParaRPr lang="en-US" dirty="0"/>
          </a:p>
        </p:txBody>
      </p:sp>
      <p:sp>
        <p:nvSpPr>
          <p:cNvPr id="8" name="Subtitle 7">
            <a:extLst>
              <a:ext uri="{FF2B5EF4-FFF2-40B4-BE49-F238E27FC236}">
                <a16:creationId xmlns:a16="http://schemas.microsoft.com/office/drawing/2014/main" id="{D56C1361-EC66-9468-4CB0-03ABEB9F7896}"/>
              </a:ext>
            </a:extLst>
          </p:cNvPr>
          <p:cNvSpPr>
            <a:spLocks noGrp="1"/>
          </p:cNvSpPr>
          <p:nvPr>
            <p:ph type="subTitle" idx="12"/>
          </p:nvPr>
        </p:nvSpPr>
        <p:spPr/>
        <p:txBody>
          <a:bodyPr vert="horz" wrap="square" lIns="0" tIns="0" rIns="0" bIns="0" rtlCol="0" anchor="t">
            <a:normAutofit/>
          </a:bodyPr>
          <a:lstStyle/>
          <a:p>
            <a:r>
              <a:rPr lang="en-US" dirty="0">
                <a:latin typeface="Barlow Medium"/>
              </a:rPr>
              <a:t>For significant updates that require </a:t>
            </a:r>
            <a:r>
              <a:rPr lang="en-US">
                <a:latin typeface="Barlow Medium"/>
              </a:rPr>
              <a:t>reattestation</a:t>
            </a:r>
            <a:endParaRPr lang="en-US" dirty="0">
              <a:latin typeface="Barlow Medium"/>
            </a:endParaRPr>
          </a:p>
        </p:txBody>
      </p:sp>
      <p:sp>
        <p:nvSpPr>
          <p:cNvPr id="6" name="Slide Number Placeholder 5">
            <a:extLst>
              <a:ext uri="{FF2B5EF4-FFF2-40B4-BE49-F238E27FC236}">
                <a16:creationId xmlns:a16="http://schemas.microsoft.com/office/drawing/2014/main" id="{B88E9173-4FC7-EC10-9692-79A134ED5C2E}"/>
              </a:ext>
            </a:extLst>
          </p:cNvPr>
          <p:cNvSpPr>
            <a:spLocks noGrp="1"/>
          </p:cNvSpPr>
          <p:nvPr>
            <p:ph type="sldNum" sz="quarter" idx="13"/>
          </p:nvPr>
        </p:nvSpPr>
        <p:spPr/>
        <p:txBody>
          <a:bodyPr/>
          <a:lstStyle/>
          <a:p>
            <a:fld id="{44661A95-0089-4306-9485-D330C59FE3ED}" type="slidenum">
              <a:rPr lang="de-DE" smtClean="0"/>
              <a:pPr/>
              <a:t>27</a:t>
            </a:fld>
            <a:endParaRPr lang="de-DE"/>
          </a:p>
        </p:txBody>
      </p:sp>
      <p:pic>
        <p:nvPicPr>
          <p:cNvPr id="9" name="Picture 8">
            <a:extLst>
              <a:ext uri="{FF2B5EF4-FFF2-40B4-BE49-F238E27FC236}">
                <a16:creationId xmlns:a16="http://schemas.microsoft.com/office/drawing/2014/main" id="{DDDBD2E0-8D95-786C-57F6-6820C3D6556B}"/>
              </a:ext>
            </a:extLst>
          </p:cNvPr>
          <p:cNvPicPr>
            <a:picLocks noChangeAspect="1"/>
          </p:cNvPicPr>
          <p:nvPr/>
        </p:nvPicPr>
        <p:blipFill>
          <a:blip r:embed="rId3"/>
          <a:stretch>
            <a:fillRect/>
          </a:stretch>
        </p:blipFill>
        <p:spPr>
          <a:xfrm>
            <a:off x="6406410" y="2313556"/>
            <a:ext cx="4311872" cy="2502029"/>
          </a:xfrm>
          <a:prstGeom prst="rect">
            <a:avLst/>
          </a:prstGeom>
          <a:ln>
            <a:noFill/>
          </a:ln>
        </p:spPr>
      </p:pic>
    </p:spTree>
    <p:extLst>
      <p:ext uri="{BB962C8B-B14F-4D97-AF65-F5344CB8AC3E}">
        <p14:creationId xmlns:p14="http://schemas.microsoft.com/office/powerpoint/2010/main" val="6234692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BBAAB-2CB5-B798-61A2-04BCC216ADE4}"/>
              </a:ext>
            </a:extLst>
          </p:cNvPr>
          <p:cNvSpPr>
            <a:spLocks noGrp="1"/>
          </p:cNvSpPr>
          <p:nvPr>
            <p:ph type="title"/>
          </p:nvPr>
        </p:nvSpPr>
        <p:spPr/>
        <p:txBody>
          <a:bodyPr/>
          <a:lstStyle/>
          <a:p>
            <a:r>
              <a:rPr lang="en-US" dirty="0"/>
              <a:t>Creating a New Version of a Published Policy</a:t>
            </a:r>
          </a:p>
        </p:txBody>
      </p:sp>
      <p:sp>
        <p:nvSpPr>
          <p:cNvPr id="6" name="Slide Number Placeholder 5">
            <a:extLst>
              <a:ext uri="{FF2B5EF4-FFF2-40B4-BE49-F238E27FC236}">
                <a16:creationId xmlns:a16="http://schemas.microsoft.com/office/drawing/2014/main" id="{769646FE-E7AA-BF3A-025B-2AEF8D11835D}"/>
              </a:ext>
            </a:extLst>
          </p:cNvPr>
          <p:cNvSpPr>
            <a:spLocks noGrp="1"/>
          </p:cNvSpPr>
          <p:nvPr>
            <p:ph type="sldNum" sz="quarter" idx="13"/>
          </p:nvPr>
        </p:nvSpPr>
        <p:spPr/>
        <p:txBody>
          <a:bodyPr/>
          <a:lstStyle/>
          <a:p>
            <a:fld id="{44661A95-0089-4306-9485-D330C59FE3ED}" type="slidenum">
              <a:rPr lang="de-DE" smtClean="0"/>
              <a:pPr/>
              <a:t>28</a:t>
            </a:fld>
            <a:endParaRPr lang="de-DE"/>
          </a:p>
        </p:txBody>
      </p:sp>
      <p:sp>
        <p:nvSpPr>
          <p:cNvPr id="8" name="Content Placeholder 6">
            <a:extLst>
              <a:ext uri="{FF2B5EF4-FFF2-40B4-BE49-F238E27FC236}">
                <a16:creationId xmlns:a16="http://schemas.microsoft.com/office/drawing/2014/main" id="{311C366A-8146-6316-27BE-3937C9CAEA0C}"/>
              </a:ext>
            </a:extLst>
          </p:cNvPr>
          <p:cNvSpPr>
            <a:spLocks noGrp="1"/>
          </p:cNvSpPr>
          <p:nvPr>
            <p:ph idx="1"/>
          </p:nvPr>
        </p:nvSpPr>
        <p:spPr>
          <a:xfrm>
            <a:off x="1092200" y="2105488"/>
            <a:ext cx="5003800" cy="3745024"/>
          </a:xfrm>
        </p:spPr>
        <p:txBody>
          <a:bodyPr vert="horz" lIns="0" tIns="0" rIns="0" bIns="0" rtlCol="0" anchor="t">
            <a:normAutofit/>
          </a:bodyPr>
          <a:lstStyle/>
          <a:p>
            <a:pPr lvl="2">
              <a:buClr>
                <a:srgbClr val="E90055"/>
              </a:buClr>
              <a:defRPr/>
            </a:pPr>
            <a:r>
              <a:rPr lang="en-US" dirty="0"/>
              <a:t>When you click </a:t>
            </a:r>
            <a:r>
              <a:rPr lang="en-US" b="1" dirty="0"/>
              <a:t>‘Create new version’ </a:t>
            </a:r>
            <a:r>
              <a:rPr lang="en-US" dirty="0"/>
              <a:t>you will see a pop up that asks if you would like to keep completed attestations.</a:t>
            </a:r>
          </a:p>
          <a:p>
            <a:pPr lvl="2">
              <a:buClr>
                <a:srgbClr val="E90055"/>
              </a:buClr>
              <a:defRPr/>
            </a:pPr>
            <a:r>
              <a:rPr lang="en-US" dirty="0"/>
              <a:t>If you would like all employees who have already attested to this policy to re-attest uncheck this box.</a:t>
            </a:r>
          </a:p>
          <a:p>
            <a:pPr lvl="2">
              <a:buClr>
                <a:srgbClr val="E90055"/>
              </a:buClr>
              <a:defRPr/>
            </a:pPr>
            <a:r>
              <a:rPr lang="en-US" dirty="0"/>
              <a:t>Otherwise, leave as is and the policy will be updated for all future attestations.</a:t>
            </a:r>
          </a:p>
          <a:p>
            <a:pPr lvl="2" indent="-266700">
              <a:buClr>
                <a:srgbClr val="E90055"/>
              </a:buClr>
              <a:buChar char="•"/>
              <a:defRPr/>
            </a:pPr>
            <a:endParaRPr lang="en-US" dirty="0"/>
          </a:p>
          <a:p>
            <a:pPr lvl="3" indent="-266700">
              <a:buClr>
                <a:srgbClr val="E90055"/>
              </a:buClr>
              <a:buChar char="•"/>
              <a:defRPr/>
            </a:pPr>
            <a:endParaRPr lang="en-US" dirty="0"/>
          </a:p>
          <a:p>
            <a:pPr marL="276225" lvl="3" indent="0">
              <a:buClr>
                <a:srgbClr val="E90055"/>
              </a:buClr>
              <a:buNone/>
              <a:defRPr/>
            </a:pPr>
            <a:endParaRPr lang="en-US" dirty="0"/>
          </a:p>
        </p:txBody>
      </p:sp>
      <p:pic>
        <p:nvPicPr>
          <p:cNvPr id="11" name="Picture 10">
            <a:extLst>
              <a:ext uri="{FF2B5EF4-FFF2-40B4-BE49-F238E27FC236}">
                <a16:creationId xmlns:a16="http://schemas.microsoft.com/office/drawing/2014/main" id="{25598A3B-B811-4FA6-7021-08F379EB6674}"/>
              </a:ext>
            </a:extLst>
          </p:cNvPr>
          <p:cNvPicPr>
            <a:picLocks noChangeAspect="1"/>
          </p:cNvPicPr>
          <p:nvPr/>
        </p:nvPicPr>
        <p:blipFill>
          <a:blip r:embed="rId2"/>
          <a:srcRect/>
          <a:stretch/>
        </p:blipFill>
        <p:spPr>
          <a:xfrm>
            <a:off x="6451104" y="2109422"/>
            <a:ext cx="4614267" cy="3233355"/>
          </a:xfrm>
          <a:prstGeom prst="rect">
            <a:avLst/>
          </a:prstGeom>
          <a:ln>
            <a:noFill/>
          </a:ln>
        </p:spPr>
      </p:pic>
    </p:spTree>
    <p:extLst>
      <p:ext uri="{BB962C8B-B14F-4D97-AF65-F5344CB8AC3E}">
        <p14:creationId xmlns:p14="http://schemas.microsoft.com/office/powerpoint/2010/main" val="39077329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6AE5C24E-853B-B4A6-BD1C-FD34FFBB3E3A}"/>
              </a:ext>
            </a:extLst>
          </p:cNvPr>
          <p:cNvSpPr>
            <a:spLocks noGrp="1"/>
          </p:cNvSpPr>
          <p:nvPr>
            <p:ph sz="half" idx="1"/>
          </p:nvPr>
        </p:nvSpPr>
        <p:spPr/>
        <p:txBody>
          <a:bodyPr vert="horz" lIns="0" tIns="0" rIns="0" bIns="0" rtlCol="0" anchor="t">
            <a:normAutofit/>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After creating a new version, you can find it in the Work in progress tab with the applicable version number.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You can </a:t>
            </a:r>
            <a:r>
              <a:rPr lang="en-US" b="1" dirty="0"/>
              <a:t>‘Edit’ </a:t>
            </a:r>
            <a:r>
              <a:rPr lang="en-US" dirty="0"/>
              <a:t>each section as needed.  </a:t>
            </a:r>
          </a:p>
          <a:p>
            <a:pPr marL="266700" lvl="2" indent="-266700">
              <a:spcAft>
                <a:spcPts val="600"/>
              </a:spcAft>
              <a:buClr>
                <a:srgbClr val="E90055"/>
              </a:buClr>
              <a:buBlip>
                <a:blip r:embed="rId2"/>
              </a:buBlip>
              <a:defRPr/>
            </a:pPr>
            <a:r>
              <a:rPr lang="en-US" dirty="0"/>
              <a:t>Once edits are complete, select </a:t>
            </a:r>
            <a:r>
              <a:rPr lang="en-US" b="1" dirty="0"/>
              <a:t>‘Request Approval’ </a:t>
            </a:r>
            <a:r>
              <a:rPr lang="en-US" dirty="0"/>
              <a:t>or </a:t>
            </a:r>
            <a:r>
              <a:rPr lang="en-US" b="1" dirty="0"/>
              <a:t>‘Move to Ready.’ </a:t>
            </a:r>
            <a:r>
              <a:rPr lang="en-US" dirty="0"/>
              <a:t>This will move the new version of the policy through the appropriate approval flow.</a:t>
            </a:r>
          </a:p>
        </p:txBody>
      </p:sp>
      <p:sp>
        <p:nvSpPr>
          <p:cNvPr id="10" name="Title 9">
            <a:extLst>
              <a:ext uri="{FF2B5EF4-FFF2-40B4-BE49-F238E27FC236}">
                <a16:creationId xmlns:a16="http://schemas.microsoft.com/office/drawing/2014/main" id="{BAFF7232-5BD8-5D22-BAFB-13DA8555BADA}"/>
              </a:ext>
            </a:extLst>
          </p:cNvPr>
          <p:cNvSpPr>
            <a:spLocks noGrp="1"/>
          </p:cNvSpPr>
          <p:nvPr>
            <p:ph type="title"/>
          </p:nvPr>
        </p:nvSpPr>
        <p:spPr/>
        <p:txBody>
          <a:bodyPr/>
          <a:lstStyle/>
          <a:p>
            <a:r>
              <a:rPr lang="en-US"/>
              <a:t>Creating a New Version of a Policy</a:t>
            </a:r>
          </a:p>
        </p:txBody>
      </p:sp>
      <p:sp>
        <p:nvSpPr>
          <p:cNvPr id="6" name="Slide Number Placeholder 5">
            <a:extLst>
              <a:ext uri="{FF2B5EF4-FFF2-40B4-BE49-F238E27FC236}">
                <a16:creationId xmlns:a16="http://schemas.microsoft.com/office/drawing/2014/main" id="{DA116090-27A2-7162-982D-4A65EA5F62CD}"/>
              </a:ext>
            </a:extLst>
          </p:cNvPr>
          <p:cNvSpPr>
            <a:spLocks noGrp="1"/>
          </p:cNvSpPr>
          <p:nvPr>
            <p:ph type="sldNum" sz="quarter" idx="13"/>
          </p:nvPr>
        </p:nvSpPr>
        <p:spPr/>
        <p:txBody>
          <a:bodyPr/>
          <a:lstStyle/>
          <a:p>
            <a:fld id="{44661A95-0089-4306-9485-D330C59FE3ED}" type="slidenum">
              <a:rPr lang="de-DE" smtClean="0"/>
              <a:pPr/>
              <a:t>29</a:t>
            </a:fld>
            <a:endParaRPr lang="de-DE"/>
          </a:p>
        </p:txBody>
      </p:sp>
      <p:pic>
        <p:nvPicPr>
          <p:cNvPr id="8" name="Picture 7">
            <a:extLst>
              <a:ext uri="{FF2B5EF4-FFF2-40B4-BE49-F238E27FC236}">
                <a16:creationId xmlns:a16="http://schemas.microsoft.com/office/drawing/2014/main" id="{044207B6-6F01-E3A3-B7EB-B56C6C4A8569}"/>
              </a:ext>
            </a:extLst>
          </p:cNvPr>
          <p:cNvPicPr>
            <a:picLocks noChangeAspect="1"/>
          </p:cNvPicPr>
          <p:nvPr/>
        </p:nvPicPr>
        <p:blipFill>
          <a:blip r:embed="rId3"/>
          <a:stretch>
            <a:fillRect/>
          </a:stretch>
        </p:blipFill>
        <p:spPr>
          <a:xfrm>
            <a:off x="6348442" y="2312988"/>
            <a:ext cx="4286470" cy="1130358"/>
          </a:xfrm>
          <a:prstGeom prst="rect">
            <a:avLst/>
          </a:prstGeom>
        </p:spPr>
      </p:pic>
      <p:pic>
        <p:nvPicPr>
          <p:cNvPr id="12" name="Picture 11">
            <a:extLst>
              <a:ext uri="{FF2B5EF4-FFF2-40B4-BE49-F238E27FC236}">
                <a16:creationId xmlns:a16="http://schemas.microsoft.com/office/drawing/2014/main" id="{03E793E4-0D9A-8A8E-F0F5-B66B7ADC0B2D}"/>
              </a:ext>
            </a:extLst>
          </p:cNvPr>
          <p:cNvPicPr>
            <a:picLocks noChangeAspect="1"/>
          </p:cNvPicPr>
          <p:nvPr/>
        </p:nvPicPr>
        <p:blipFill>
          <a:blip r:embed="rId4"/>
          <a:stretch>
            <a:fillRect/>
          </a:stretch>
        </p:blipFill>
        <p:spPr>
          <a:xfrm>
            <a:off x="6639685" y="3938164"/>
            <a:ext cx="3702240" cy="1333569"/>
          </a:xfrm>
          <a:prstGeom prst="rect">
            <a:avLst/>
          </a:prstGeom>
        </p:spPr>
      </p:pic>
    </p:spTree>
    <p:extLst>
      <p:ext uri="{BB962C8B-B14F-4D97-AF65-F5344CB8AC3E}">
        <p14:creationId xmlns:p14="http://schemas.microsoft.com/office/powerpoint/2010/main" val="24158963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bwMode="gray">
          <a:xfrm>
            <a:off x="1092200" y="2312988"/>
            <a:ext cx="10007600" cy="3312256"/>
          </a:xfrm>
        </p:spPr>
        <p:txBody>
          <a:bodyPr vert="horz" wrap="square" lIns="0" tIns="0" rIns="0" bIns="0" numCol="2" spcCol="216000" rtlCol="0" anchor="t">
            <a:normAutofit/>
          </a:bodyPr>
          <a:lstStyle/>
          <a:p>
            <a:r>
              <a:rPr lang="en-US" dirty="0"/>
              <a:t>Policy Attestations and Campaigns</a:t>
            </a:r>
          </a:p>
          <a:p>
            <a:r>
              <a:rPr lang="en-US" dirty="0"/>
              <a:t>Accessing the Policies module and your assigned policies </a:t>
            </a:r>
          </a:p>
          <a:p>
            <a:r>
              <a:rPr lang="en-US" dirty="0"/>
              <a:t>Reviewing a Policy</a:t>
            </a:r>
          </a:p>
          <a:p>
            <a:r>
              <a:rPr lang="en-US" dirty="0"/>
              <a:t>Editing a Published Policy</a:t>
            </a:r>
          </a:p>
          <a:p>
            <a:r>
              <a:rPr lang="en-US" dirty="0">
                <a:ea typeface="+mj-lt"/>
                <a:cs typeface="+mj-lt"/>
              </a:rPr>
              <a:t>Creating a New Version of a Published Policy</a:t>
            </a:r>
          </a:p>
        </p:txBody>
      </p:sp>
      <p:sp>
        <p:nvSpPr>
          <p:cNvPr id="2" name="Titel 1"/>
          <p:cNvSpPr>
            <a:spLocks noGrp="1"/>
          </p:cNvSpPr>
          <p:nvPr>
            <p:ph type="title"/>
          </p:nvPr>
        </p:nvSpPr>
        <p:spPr bwMode="gray">
          <a:xfrm>
            <a:off x="1092200" y="772324"/>
            <a:ext cx="10007600" cy="604039"/>
          </a:xfrm>
        </p:spPr>
        <p:txBody>
          <a:bodyPr/>
          <a:lstStyle/>
          <a:p>
            <a:r>
              <a:rPr lang="de-DE"/>
              <a:t>Agenda</a:t>
            </a:r>
          </a:p>
        </p:txBody>
      </p:sp>
      <p:sp>
        <p:nvSpPr>
          <p:cNvPr id="10" name="Textplatzhalter 9"/>
          <p:cNvSpPr>
            <a:spLocks noGrp="1"/>
          </p:cNvSpPr>
          <p:nvPr>
            <p:ph type="body" sz="quarter" idx="4294967295"/>
          </p:nvPr>
        </p:nvSpPr>
        <p:spPr bwMode="gray">
          <a:xfrm>
            <a:off x="7583488" y="6381750"/>
            <a:ext cx="4608512" cy="287338"/>
          </a:xfrm>
          <a:prstGeom prst="rect">
            <a:avLst/>
          </a:prstGeom>
        </p:spPr>
        <p:txBody>
          <a:bodyPr>
            <a:normAutofit fontScale="92500" lnSpcReduction="20000"/>
          </a:bodyPr>
          <a:lstStyle/>
          <a:p>
            <a:r>
              <a:rPr lang="de-DE"/>
              <a:t> </a:t>
            </a:r>
          </a:p>
        </p:txBody>
      </p:sp>
      <p:sp>
        <p:nvSpPr>
          <p:cNvPr id="7" name="Slide Number Placeholder 6">
            <a:extLst>
              <a:ext uri="{FF2B5EF4-FFF2-40B4-BE49-F238E27FC236}">
                <a16:creationId xmlns:a16="http://schemas.microsoft.com/office/drawing/2014/main" id="{4D4E46CC-1809-6091-22C3-02D8F10C9862}"/>
              </a:ext>
            </a:extLst>
          </p:cNvPr>
          <p:cNvSpPr>
            <a:spLocks noGrp="1"/>
          </p:cNvSpPr>
          <p:nvPr>
            <p:ph type="sldNum" sz="quarter" idx="14"/>
          </p:nvPr>
        </p:nvSpPr>
        <p:spPr/>
        <p:txBody>
          <a:bodyPr/>
          <a:lstStyle/>
          <a:p>
            <a:fld id="{44661A95-0089-4306-9485-D330C59FE3ED}" type="slidenum">
              <a:rPr lang="de-DE" smtClean="0"/>
              <a:pPr/>
              <a:t>3</a:t>
            </a:fld>
            <a:endParaRPr lang="de-DE"/>
          </a:p>
        </p:txBody>
      </p:sp>
    </p:spTree>
    <p:extLst>
      <p:ext uri="{BB962C8B-B14F-4D97-AF65-F5344CB8AC3E}">
        <p14:creationId xmlns:p14="http://schemas.microsoft.com/office/powerpoint/2010/main" val="20875035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E285D62-0777-1DC1-6429-2428406A1EFA}"/>
              </a:ext>
            </a:extLst>
          </p:cNvPr>
          <p:cNvSpPr>
            <a:spLocks noGrp="1"/>
          </p:cNvSpPr>
          <p:nvPr>
            <p:ph sz="half" idx="2"/>
          </p:nvPr>
        </p:nvSpPr>
        <p:spPr>
          <a:xfrm>
            <a:off x="6248400" y="2072568"/>
            <a:ext cx="4730749" cy="3417568"/>
          </a:xfrm>
        </p:spPr>
        <p:txBody>
          <a:bodyPr vert="horz" lIns="0" tIns="0" rIns="0" bIns="0" rtlCol="0" anchor="t">
            <a:normAutofit/>
          </a:bodyPr>
          <a:lstStyle/>
          <a:p>
            <a:pPr marL="266700" lvl="2" indent="-266700">
              <a:spcAft>
                <a:spcPts val="600"/>
              </a:spcAft>
              <a:buClr>
                <a:srgbClr val="E90055"/>
              </a:buClr>
              <a:buBlip>
                <a:blip r:embed="rId2"/>
              </a:buBlip>
              <a:defRPr/>
            </a:pPr>
            <a:r>
              <a:rPr lang="en-US" dirty="0"/>
              <a:t>Once all approvals are complete the policy will be marked as ‘Ready to publish.’ </a:t>
            </a:r>
          </a:p>
          <a:p>
            <a:pPr marL="266700" lvl="2" indent="-266700">
              <a:spcAft>
                <a:spcPts val="600"/>
              </a:spcAft>
              <a:buClr>
                <a:srgbClr val="E90055"/>
              </a:buClr>
              <a:buBlip>
                <a:blip r:embed="rId2"/>
              </a:buBlip>
              <a:defRPr/>
            </a:pPr>
            <a:r>
              <a:rPr lang="en-US" dirty="0"/>
              <a:t>The appropriate admin user can open the policy and click </a:t>
            </a:r>
            <a:r>
              <a:rPr lang="en-US" b="1" dirty="0"/>
              <a:t>‘Publish’ </a:t>
            </a:r>
            <a:r>
              <a:rPr lang="en-US" dirty="0"/>
              <a:t>in the upper right corner.</a:t>
            </a:r>
          </a:p>
          <a:p>
            <a:pPr marL="266700" lvl="2" indent="-266700">
              <a:spcAft>
                <a:spcPts val="600"/>
              </a:spcAft>
              <a:buClr>
                <a:srgbClr val="E90055"/>
              </a:buClr>
              <a:buBlip>
                <a:blip r:embed="rId2"/>
              </a:buBlip>
              <a:defRPr/>
            </a:pPr>
            <a:r>
              <a:rPr lang="en-US" dirty="0"/>
              <a:t>This new version of the policy will then be ‘Active’ and displayed in the Published policies tab</a:t>
            </a:r>
          </a:p>
        </p:txBody>
      </p:sp>
      <p:sp>
        <p:nvSpPr>
          <p:cNvPr id="7" name="Title 6">
            <a:extLst>
              <a:ext uri="{FF2B5EF4-FFF2-40B4-BE49-F238E27FC236}">
                <a16:creationId xmlns:a16="http://schemas.microsoft.com/office/drawing/2014/main" id="{D11299F5-F8EE-21A9-D192-3D3872E3EDBA}"/>
              </a:ext>
            </a:extLst>
          </p:cNvPr>
          <p:cNvSpPr>
            <a:spLocks noGrp="1"/>
          </p:cNvSpPr>
          <p:nvPr>
            <p:ph type="title"/>
          </p:nvPr>
        </p:nvSpPr>
        <p:spPr/>
        <p:txBody>
          <a:bodyPr/>
          <a:lstStyle/>
          <a:p>
            <a:r>
              <a:rPr lang="en-US"/>
              <a:t>Creating a New Version of a Policy</a:t>
            </a:r>
          </a:p>
        </p:txBody>
      </p:sp>
      <p:sp>
        <p:nvSpPr>
          <p:cNvPr id="10" name="Subtitle 9">
            <a:extLst>
              <a:ext uri="{FF2B5EF4-FFF2-40B4-BE49-F238E27FC236}">
                <a16:creationId xmlns:a16="http://schemas.microsoft.com/office/drawing/2014/main" id="{F9CD7C52-8F33-984F-B4C5-C5D6F49E706E}"/>
              </a:ext>
            </a:extLst>
          </p:cNvPr>
          <p:cNvSpPr>
            <a:spLocks noGrp="1"/>
          </p:cNvSpPr>
          <p:nvPr>
            <p:ph type="subTitle" idx="12"/>
          </p:nvPr>
        </p:nvSpPr>
        <p:spPr/>
        <p:txBody>
          <a:bodyPr/>
          <a:lstStyle/>
          <a:p>
            <a:r>
              <a:rPr lang="en-US"/>
              <a:t>Publishing the new version</a:t>
            </a:r>
          </a:p>
        </p:txBody>
      </p:sp>
      <p:sp>
        <p:nvSpPr>
          <p:cNvPr id="3" name="Slide Number Placeholder 2">
            <a:extLst>
              <a:ext uri="{FF2B5EF4-FFF2-40B4-BE49-F238E27FC236}">
                <a16:creationId xmlns:a16="http://schemas.microsoft.com/office/drawing/2014/main" id="{0137AE0E-52A3-B343-5EE7-2441E6B90CAA}"/>
              </a:ext>
            </a:extLst>
          </p:cNvPr>
          <p:cNvSpPr>
            <a:spLocks noGrp="1"/>
          </p:cNvSpPr>
          <p:nvPr>
            <p:ph type="sldNum" sz="quarter" idx="13"/>
          </p:nvPr>
        </p:nvSpPr>
        <p:spPr/>
        <p:txBody>
          <a:bodyPr/>
          <a:lstStyle/>
          <a:p>
            <a:fld id="{44661A95-0089-4306-9485-D330C59FE3ED}" type="slidenum">
              <a:rPr lang="de-DE" smtClean="0"/>
              <a:pPr/>
              <a:t>30</a:t>
            </a:fld>
            <a:endParaRPr lang="de-DE"/>
          </a:p>
        </p:txBody>
      </p:sp>
      <p:pic>
        <p:nvPicPr>
          <p:cNvPr id="5" name="Picture 4">
            <a:extLst>
              <a:ext uri="{FF2B5EF4-FFF2-40B4-BE49-F238E27FC236}">
                <a16:creationId xmlns:a16="http://schemas.microsoft.com/office/drawing/2014/main" id="{502B7967-87EF-F8CC-B168-0E11B87BA789}"/>
              </a:ext>
            </a:extLst>
          </p:cNvPr>
          <p:cNvPicPr>
            <a:picLocks noChangeAspect="1"/>
          </p:cNvPicPr>
          <p:nvPr/>
        </p:nvPicPr>
        <p:blipFill>
          <a:blip r:embed="rId3"/>
          <a:srcRect l="155" t="598" b="14653"/>
          <a:stretch>
            <a:fillRect/>
          </a:stretch>
        </p:blipFill>
        <p:spPr>
          <a:xfrm>
            <a:off x="1081695" y="2071529"/>
            <a:ext cx="4483843" cy="2001923"/>
          </a:xfrm>
          <a:prstGeom prst="rect">
            <a:avLst/>
          </a:prstGeom>
        </p:spPr>
      </p:pic>
      <p:pic>
        <p:nvPicPr>
          <p:cNvPr id="12" name="Picture 11">
            <a:extLst>
              <a:ext uri="{FF2B5EF4-FFF2-40B4-BE49-F238E27FC236}">
                <a16:creationId xmlns:a16="http://schemas.microsoft.com/office/drawing/2014/main" id="{623999C5-485B-D849-BC74-73CB6A5F1DE7}"/>
              </a:ext>
            </a:extLst>
          </p:cNvPr>
          <p:cNvPicPr>
            <a:picLocks noChangeAspect="1"/>
          </p:cNvPicPr>
          <p:nvPr/>
        </p:nvPicPr>
        <p:blipFill>
          <a:blip r:embed="rId4"/>
          <a:stretch>
            <a:fillRect/>
          </a:stretch>
        </p:blipFill>
        <p:spPr>
          <a:xfrm>
            <a:off x="1589448" y="4191000"/>
            <a:ext cx="3473629" cy="1625684"/>
          </a:xfrm>
          <a:prstGeom prst="rect">
            <a:avLst/>
          </a:prstGeom>
        </p:spPr>
      </p:pic>
    </p:spTree>
    <p:extLst>
      <p:ext uri="{BB962C8B-B14F-4D97-AF65-F5344CB8AC3E}">
        <p14:creationId xmlns:p14="http://schemas.microsoft.com/office/powerpoint/2010/main" val="40281818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B3E7DB-D918-0419-361E-E99033E7F285}"/>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C8DE3969-9950-4707-0E44-AC7D447E44E5}"/>
              </a:ext>
            </a:extLst>
          </p:cNvPr>
          <p:cNvSpPr>
            <a:spLocks noGrp="1"/>
          </p:cNvSpPr>
          <p:nvPr>
            <p:ph type="title"/>
          </p:nvPr>
        </p:nvSpPr>
        <p:spPr bwMode="gray">
          <a:xfrm>
            <a:off x="1092200" y="2658668"/>
            <a:ext cx="7308056" cy="1540664"/>
          </a:xfrm>
        </p:spPr>
        <p:txBody>
          <a:bodyPr/>
          <a:lstStyle/>
          <a:p>
            <a:r>
              <a:rPr lang="en-US">
                <a:latin typeface="Barlow ExtraBold"/>
              </a:rPr>
              <a:t>Thank you</a:t>
            </a:r>
            <a:br>
              <a:rPr lang="en-US"/>
            </a:br>
            <a:r>
              <a:rPr lang="en-US">
                <a:latin typeface="Barlow ExtraBold"/>
              </a:rPr>
              <a:t>for your attention</a:t>
            </a:r>
          </a:p>
        </p:txBody>
      </p:sp>
    </p:spTree>
    <p:extLst>
      <p:ext uri="{BB962C8B-B14F-4D97-AF65-F5344CB8AC3E}">
        <p14:creationId xmlns:p14="http://schemas.microsoft.com/office/powerpoint/2010/main" val="24522090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433EEE-8225-F6BE-509C-34764DE73E7B}"/>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C70305D3-9AD0-3F2B-54CA-BF795468755C}"/>
              </a:ext>
            </a:extLst>
          </p:cNvPr>
          <p:cNvSpPr>
            <a:spLocks noGrp="1"/>
          </p:cNvSpPr>
          <p:nvPr>
            <p:ph type="body" idx="1"/>
          </p:nvPr>
        </p:nvSpPr>
        <p:spPr bwMode="gray">
          <a:xfrm>
            <a:off x="1092199" y="1412875"/>
            <a:ext cx="5834693" cy="4356385"/>
          </a:xfrm>
        </p:spPr>
        <p:txBody>
          <a:bodyPr/>
          <a:lstStyle/>
          <a:p>
            <a:r>
              <a:rPr lang="en-US" dirty="0"/>
              <a:t>Policy Attestations and Campaigns</a:t>
            </a:r>
          </a:p>
        </p:txBody>
      </p:sp>
      <p:sp>
        <p:nvSpPr>
          <p:cNvPr id="8" name="Textplatzhalter 7">
            <a:extLst>
              <a:ext uri="{FF2B5EF4-FFF2-40B4-BE49-F238E27FC236}">
                <a16:creationId xmlns:a16="http://schemas.microsoft.com/office/drawing/2014/main" id="{F99916EA-1051-BBD0-B54D-78780406AA57}"/>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p>
        </p:txBody>
      </p:sp>
      <p:sp>
        <p:nvSpPr>
          <p:cNvPr id="20" name="Titel 19">
            <a:extLst>
              <a:ext uri="{FF2B5EF4-FFF2-40B4-BE49-F238E27FC236}">
                <a16:creationId xmlns:a16="http://schemas.microsoft.com/office/drawing/2014/main" id="{5428B26D-654A-D335-1466-C904F113E3EC}"/>
              </a:ext>
            </a:extLst>
          </p:cNvPr>
          <p:cNvSpPr>
            <a:spLocks noGrp="1"/>
          </p:cNvSpPr>
          <p:nvPr>
            <p:ph type="title"/>
          </p:nvPr>
        </p:nvSpPr>
        <p:spPr/>
        <p:txBody>
          <a:bodyPr/>
          <a:lstStyle/>
          <a:p>
            <a:r>
              <a:rPr lang="de-DE" dirty="0"/>
              <a:t>01</a:t>
            </a:r>
          </a:p>
        </p:txBody>
      </p:sp>
    </p:spTree>
    <p:extLst>
      <p:ext uri="{BB962C8B-B14F-4D97-AF65-F5344CB8AC3E}">
        <p14:creationId xmlns:p14="http://schemas.microsoft.com/office/powerpoint/2010/main" val="38247094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8EA25C-1631-A0D4-AA44-5F45F7FC3C8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8DB57CC-15A7-030F-1EB3-4A857BA05E73}"/>
              </a:ext>
            </a:extLst>
          </p:cNvPr>
          <p:cNvSpPr>
            <a:spLocks noGrp="1"/>
          </p:cNvSpPr>
          <p:nvPr>
            <p:ph type="title"/>
          </p:nvPr>
        </p:nvSpPr>
        <p:spPr bwMode="gray">
          <a:xfrm>
            <a:off x="1092200" y="789687"/>
            <a:ext cx="10007600" cy="604039"/>
          </a:xfrm>
        </p:spPr>
        <p:txBody>
          <a:bodyPr/>
          <a:lstStyle/>
          <a:p>
            <a:r>
              <a:rPr lang="en-US" dirty="0">
                <a:latin typeface="Barlow ExtraBold"/>
              </a:rPr>
              <a:t>Policy distribution via the Campaign module</a:t>
            </a:r>
            <a:endParaRPr lang="en-US" dirty="0"/>
          </a:p>
        </p:txBody>
      </p:sp>
      <p:sp>
        <p:nvSpPr>
          <p:cNvPr id="7" name="Slide Number Placeholder 6">
            <a:extLst>
              <a:ext uri="{FF2B5EF4-FFF2-40B4-BE49-F238E27FC236}">
                <a16:creationId xmlns:a16="http://schemas.microsoft.com/office/drawing/2014/main" id="{9DDB8470-6011-126D-F433-CB3B51B36E27}"/>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5</a:t>
            </a:fld>
            <a:endParaRPr lang="en-US" noProof="0"/>
          </a:p>
        </p:txBody>
      </p:sp>
      <p:pic>
        <p:nvPicPr>
          <p:cNvPr id="8" name="Picture 7">
            <a:extLst>
              <a:ext uri="{FF2B5EF4-FFF2-40B4-BE49-F238E27FC236}">
                <a16:creationId xmlns:a16="http://schemas.microsoft.com/office/drawing/2014/main" id="{6C7144B3-8AD0-A044-CA63-1635440775A7}"/>
              </a:ext>
            </a:extLst>
          </p:cNvPr>
          <p:cNvPicPr>
            <a:picLocks noChangeAspect="1"/>
          </p:cNvPicPr>
          <p:nvPr/>
        </p:nvPicPr>
        <p:blipFill>
          <a:blip r:embed="rId3"/>
          <a:srcRect t="55443"/>
          <a:stretch>
            <a:fillRect/>
          </a:stretch>
        </p:blipFill>
        <p:spPr>
          <a:xfrm>
            <a:off x="5095438" y="4306956"/>
            <a:ext cx="4718304" cy="1666534"/>
          </a:xfrm>
          <a:prstGeom prst="rect">
            <a:avLst/>
          </a:prstGeom>
        </p:spPr>
      </p:pic>
      <p:pic>
        <p:nvPicPr>
          <p:cNvPr id="3" name="Picture 2">
            <a:extLst>
              <a:ext uri="{FF2B5EF4-FFF2-40B4-BE49-F238E27FC236}">
                <a16:creationId xmlns:a16="http://schemas.microsoft.com/office/drawing/2014/main" id="{514ECA0A-DC39-5C49-3207-6FCD07C25FD4}"/>
              </a:ext>
            </a:extLst>
          </p:cNvPr>
          <p:cNvPicPr>
            <a:picLocks noChangeAspect="1"/>
          </p:cNvPicPr>
          <p:nvPr/>
        </p:nvPicPr>
        <p:blipFill>
          <a:blip r:embed="rId4"/>
          <a:srcRect/>
          <a:stretch/>
        </p:blipFill>
        <p:spPr>
          <a:xfrm>
            <a:off x="5392331" y="1925185"/>
            <a:ext cx="4124518" cy="2221182"/>
          </a:xfrm>
          <a:prstGeom prst="rect">
            <a:avLst/>
          </a:prstGeom>
          <a:ln>
            <a:noFill/>
          </a:ln>
        </p:spPr>
      </p:pic>
      <p:sp>
        <p:nvSpPr>
          <p:cNvPr id="9" name="Inhaltsplatzhalter 5">
            <a:extLst>
              <a:ext uri="{FF2B5EF4-FFF2-40B4-BE49-F238E27FC236}">
                <a16:creationId xmlns:a16="http://schemas.microsoft.com/office/drawing/2014/main" id="{E92B2457-04C2-ED29-F7D8-92B5ECEC2D01}"/>
              </a:ext>
            </a:extLst>
          </p:cNvPr>
          <p:cNvSpPr txBox="1">
            <a:spLocks/>
          </p:cNvSpPr>
          <p:nvPr/>
        </p:nvSpPr>
        <p:spPr bwMode="gray">
          <a:xfrm>
            <a:off x="1092200" y="1925185"/>
            <a:ext cx="2704747" cy="3007629"/>
          </a:xfrm>
          <a:prstGeom prst="rect">
            <a:avLst/>
          </a:prstGeom>
        </p:spPr>
        <p:txBody>
          <a:bodyPr vert="horz" lIns="0" tIns="0" rIns="0" bIns="0" rtlCol="0" anchor="t">
            <a:noAutofit/>
          </a:bodyPr>
          <a:lstStyle>
            <a:defPPr>
              <a:defRPr lang="de-DE"/>
            </a:defPPr>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5"/>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9pPr>
          </a:lstStyle>
          <a:p>
            <a:pPr lvl="5"/>
            <a:r>
              <a:rPr lang="en-US" sz="1400" dirty="0"/>
              <a:t>The</a:t>
            </a:r>
            <a:r>
              <a:rPr lang="en-US" sz="1400" b="1" dirty="0"/>
              <a:t> </a:t>
            </a:r>
            <a:r>
              <a:rPr lang="en-US" sz="1400" dirty="0"/>
              <a:t>Policies module is where you will define content, access and attestation method.</a:t>
            </a:r>
          </a:p>
          <a:p>
            <a:pPr lvl="5"/>
            <a:r>
              <a:rPr lang="en-US" sz="1400" dirty="0"/>
              <a:t>Publishing a policy allows it to be selected for a Campaign.</a:t>
            </a:r>
            <a:endParaRPr lang="en-US" sz="1400" b="1" dirty="0"/>
          </a:p>
          <a:p>
            <a:pPr lvl="5"/>
            <a:r>
              <a:rPr lang="en-US" sz="1400" dirty="0"/>
              <a:t>Campaigns distribute policies and collect attestations. </a:t>
            </a:r>
          </a:p>
          <a:p>
            <a:pPr lvl="5"/>
            <a:r>
              <a:rPr lang="en-US" sz="1400" dirty="0"/>
              <a:t>Reminders to attest can only be sent by Campaign administrators.</a:t>
            </a:r>
          </a:p>
          <a:p>
            <a:pPr lvl="5"/>
            <a:endParaRPr lang="en-US" sz="1400" dirty="0"/>
          </a:p>
          <a:p>
            <a:pPr lvl="5"/>
            <a:endParaRPr lang="en-US" sz="1400" dirty="0"/>
          </a:p>
        </p:txBody>
      </p:sp>
    </p:spTree>
    <p:extLst>
      <p:ext uri="{BB962C8B-B14F-4D97-AF65-F5344CB8AC3E}">
        <p14:creationId xmlns:p14="http://schemas.microsoft.com/office/powerpoint/2010/main" val="36696013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2DDBF1-C0F3-0928-C3C0-A8C9BD615DEF}"/>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EA1DC4D9-D75B-CDCB-DC34-8656B89FDF98}"/>
              </a:ext>
            </a:extLst>
          </p:cNvPr>
          <p:cNvSpPr>
            <a:spLocks noGrp="1"/>
          </p:cNvSpPr>
          <p:nvPr>
            <p:ph type="body" idx="1"/>
          </p:nvPr>
        </p:nvSpPr>
        <p:spPr bwMode="gray">
          <a:xfrm>
            <a:off x="1092200" y="1412875"/>
            <a:ext cx="5111750" cy="4356385"/>
          </a:xfrm>
        </p:spPr>
        <p:txBody>
          <a:bodyPr/>
          <a:lstStyle/>
          <a:p>
            <a:r>
              <a:rPr lang="en-US" b="0" i="0" dirty="0">
                <a:latin typeface="Barlow ExtraBold"/>
              </a:rPr>
              <a:t>Accessing the Policies module and your assigned policies</a:t>
            </a:r>
            <a:endParaRPr lang="en-US" dirty="0"/>
          </a:p>
        </p:txBody>
      </p:sp>
      <p:sp>
        <p:nvSpPr>
          <p:cNvPr id="8" name="Textplatzhalter 7">
            <a:extLst>
              <a:ext uri="{FF2B5EF4-FFF2-40B4-BE49-F238E27FC236}">
                <a16:creationId xmlns:a16="http://schemas.microsoft.com/office/drawing/2014/main" id="{078B06A0-6115-193A-B612-7D7D60A54CC0}"/>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
        <p:nvSpPr>
          <p:cNvPr id="16" name="Titel 15">
            <a:extLst>
              <a:ext uri="{FF2B5EF4-FFF2-40B4-BE49-F238E27FC236}">
                <a16:creationId xmlns:a16="http://schemas.microsoft.com/office/drawing/2014/main" id="{FE75352C-A633-DFA4-39FF-7B702DFC271D}"/>
              </a:ext>
            </a:extLst>
          </p:cNvPr>
          <p:cNvSpPr>
            <a:spLocks noGrp="1"/>
          </p:cNvSpPr>
          <p:nvPr>
            <p:ph type="title"/>
          </p:nvPr>
        </p:nvSpPr>
        <p:spPr/>
        <p:txBody>
          <a:bodyPr/>
          <a:lstStyle/>
          <a:p>
            <a:r>
              <a:rPr lang="en-US">
                <a:latin typeface="Barlow ExtraBold"/>
              </a:rPr>
              <a:t>02</a:t>
            </a:r>
            <a:endParaRPr lang="en-US" noProof="0"/>
          </a:p>
        </p:txBody>
      </p:sp>
    </p:spTree>
    <p:extLst>
      <p:ext uri="{BB962C8B-B14F-4D97-AF65-F5344CB8AC3E}">
        <p14:creationId xmlns:p14="http://schemas.microsoft.com/office/powerpoint/2010/main" val="27211712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930D3B-FCF3-618F-BC15-D5BD9FBD302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306DC25-49AF-5D14-6069-65CE3F4F866A}"/>
              </a:ext>
            </a:extLst>
          </p:cNvPr>
          <p:cNvSpPr>
            <a:spLocks noGrp="1"/>
          </p:cNvSpPr>
          <p:nvPr>
            <p:ph type="title"/>
          </p:nvPr>
        </p:nvSpPr>
        <p:spPr bwMode="gray">
          <a:xfrm>
            <a:off x="1092200" y="789687"/>
            <a:ext cx="10007600" cy="604039"/>
          </a:xfrm>
        </p:spPr>
        <p:txBody>
          <a:bodyPr/>
          <a:lstStyle/>
          <a:p>
            <a:r>
              <a:rPr lang="en-US" dirty="0">
                <a:latin typeface="Barlow ExtraBold"/>
              </a:rPr>
              <a:t>Accessing Policies Module</a:t>
            </a:r>
            <a:endParaRPr lang="en-US" dirty="0"/>
          </a:p>
        </p:txBody>
      </p:sp>
      <p:sp>
        <p:nvSpPr>
          <p:cNvPr id="7" name="Slide Number Placeholder 6">
            <a:extLst>
              <a:ext uri="{FF2B5EF4-FFF2-40B4-BE49-F238E27FC236}">
                <a16:creationId xmlns:a16="http://schemas.microsoft.com/office/drawing/2014/main" id="{7DC9FD12-0F14-8D34-65AD-834891FD8B8D}"/>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7</a:t>
            </a:fld>
            <a:endParaRPr lang="en-US" noProof="0"/>
          </a:p>
        </p:txBody>
      </p:sp>
      <p:pic>
        <p:nvPicPr>
          <p:cNvPr id="3" name="Picture 2">
            <a:extLst>
              <a:ext uri="{FF2B5EF4-FFF2-40B4-BE49-F238E27FC236}">
                <a16:creationId xmlns:a16="http://schemas.microsoft.com/office/drawing/2014/main" id="{EA913765-186B-E05A-BDE8-57FE5752CBD0}"/>
              </a:ext>
            </a:extLst>
          </p:cNvPr>
          <p:cNvPicPr>
            <a:picLocks noChangeAspect="1"/>
          </p:cNvPicPr>
          <p:nvPr/>
        </p:nvPicPr>
        <p:blipFill>
          <a:blip r:embed="rId3"/>
          <a:srcRect/>
          <a:stretch/>
        </p:blipFill>
        <p:spPr>
          <a:xfrm>
            <a:off x="1341458" y="1518484"/>
            <a:ext cx="7877698" cy="3687434"/>
          </a:xfrm>
          <a:prstGeom prst="rect">
            <a:avLst/>
          </a:prstGeom>
          <a:ln>
            <a:noFill/>
          </a:ln>
        </p:spPr>
      </p:pic>
      <p:sp>
        <p:nvSpPr>
          <p:cNvPr id="6" name="Inhaltsplatzhalter 5">
            <a:extLst>
              <a:ext uri="{FF2B5EF4-FFF2-40B4-BE49-F238E27FC236}">
                <a16:creationId xmlns:a16="http://schemas.microsoft.com/office/drawing/2014/main" id="{E188B2DA-4161-7F36-9337-4AF017D5C3F5}"/>
              </a:ext>
            </a:extLst>
          </p:cNvPr>
          <p:cNvSpPr txBox="1">
            <a:spLocks/>
          </p:cNvSpPr>
          <p:nvPr/>
        </p:nvSpPr>
        <p:spPr bwMode="gray">
          <a:xfrm>
            <a:off x="941295" y="5397687"/>
            <a:ext cx="10306480" cy="949374"/>
          </a:xfrm>
          <a:prstGeom prst="rect">
            <a:avLst/>
          </a:prstGeom>
        </p:spPr>
        <p:txBody>
          <a:bodyPr vert="horz" lIns="0" tIns="0" rIns="0" bIns="0" rtlCol="0" anchor="t">
            <a:noAutofit/>
          </a:bodyPr>
          <a:lstStyle>
            <a:defPPr>
              <a:defRPr lang="de-DE"/>
            </a:defPPr>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9pPr>
          </a:lstStyle>
          <a:p>
            <a:pPr lvl="5"/>
            <a:r>
              <a:rPr lang="en-US" sz="1400" dirty="0">
                <a:ea typeface="+mn-lt"/>
                <a:cs typeface="+mn-lt"/>
              </a:rPr>
              <a:t>The Policies module includes functionality to create, manage, publish, and version policies, including policy content, access settings, attestation requirements, approval workflows, and reporting.</a:t>
            </a:r>
          </a:p>
          <a:p>
            <a:pPr lvl="5"/>
            <a:r>
              <a:rPr lang="en-US" sz="1400" dirty="0"/>
              <a:t>This presentation is focused on reviewing, updating, and versioning policies within the Policies module.</a:t>
            </a:r>
          </a:p>
        </p:txBody>
      </p:sp>
      <p:sp>
        <p:nvSpPr>
          <p:cNvPr id="4" name="TextBox 3">
            <a:extLst>
              <a:ext uri="{FF2B5EF4-FFF2-40B4-BE49-F238E27FC236}">
                <a16:creationId xmlns:a16="http://schemas.microsoft.com/office/drawing/2014/main" id="{F801145E-71C4-3307-B0E9-3DEBDA2B1DFF}"/>
              </a:ext>
            </a:extLst>
          </p:cNvPr>
          <p:cNvSpPr txBox="1"/>
          <p:nvPr/>
        </p:nvSpPr>
        <p:spPr bwMode="gray">
          <a:xfrm>
            <a:off x="9385375" y="1518484"/>
            <a:ext cx="1862400" cy="187256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10000"/>
              </a:lnSpc>
              <a:spcAft>
                <a:spcPts val="600"/>
              </a:spcAft>
              <a:buClr>
                <a:schemeClr val="accent1"/>
              </a:buClr>
            </a:pPr>
            <a:r>
              <a:rPr lang="en-US" sz="1400" i="1" dirty="0"/>
              <a:t>This image shows how to access the full Policies module via the left-side menu and highlights the widgets that provide an overview of the policies that you have access to.</a:t>
            </a:r>
          </a:p>
        </p:txBody>
      </p:sp>
    </p:spTree>
    <p:extLst>
      <p:ext uri="{BB962C8B-B14F-4D97-AF65-F5344CB8AC3E}">
        <p14:creationId xmlns:p14="http://schemas.microsoft.com/office/powerpoint/2010/main" val="38502028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9CDDFCE-0EDB-6AD0-983B-733BC9F35665}"/>
              </a:ext>
            </a:extLst>
          </p:cNvPr>
          <p:cNvSpPr>
            <a:spLocks noGrp="1"/>
          </p:cNvSpPr>
          <p:nvPr>
            <p:ph type="body" sz="quarter" idx="15"/>
          </p:nvPr>
        </p:nvSpPr>
        <p:spPr>
          <a:xfrm>
            <a:off x="1102988" y="4821190"/>
            <a:ext cx="4823780" cy="1478032"/>
          </a:xfrm>
        </p:spPr>
        <p:txBody>
          <a:bodyPr>
            <a:normAutofit/>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dirty="0"/>
              <a:t>The Dashboard displays an overview of all policies that the user has access to, and statistics related to those policies</a:t>
            </a:r>
          </a:p>
        </p:txBody>
      </p:sp>
      <p:sp>
        <p:nvSpPr>
          <p:cNvPr id="5" name="Title 4">
            <a:extLst>
              <a:ext uri="{FF2B5EF4-FFF2-40B4-BE49-F238E27FC236}">
                <a16:creationId xmlns:a16="http://schemas.microsoft.com/office/drawing/2014/main" id="{E17CE3B8-A19A-5356-8E22-FA2F345ADBCC}"/>
              </a:ext>
            </a:extLst>
          </p:cNvPr>
          <p:cNvSpPr>
            <a:spLocks noGrp="1"/>
          </p:cNvSpPr>
          <p:nvPr>
            <p:ph type="title"/>
          </p:nvPr>
        </p:nvSpPr>
        <p:spPr/>
        <p:txBody>
          <a:bodyPr anchor="t">
            <a:normAutofit/>
          </a:bodyPr>
          <a:lstStyle/>
          <a:p>
            <a:r>
              <a:rPr lang="en-US" dirty="0"/>
              <a:t>Policy Dashboard Overview</a:t>
            </a:r>
          </a:p>
        </p:txBody>
      </p:sp>
      <p:sp>
        <p:nvSpPr>
          <p:cNvPr id="6" name="Slide Number Placeholder 5">
            <a:extLst>
              <a:ext uri="{FF2B5EF4-FFF2-40B4-BE49-F238E27FC236}">
                <a16:creationId xmlns:a16="http://schemas.microsoft.com/office/drawing/2014/main" id="{95FBDF41-38CD-4D4C-63C0-AE7AF3FBD617}"/>
              </a:ext>
            </a:extLst>
          </p:cNvPr>
          <p:cNvSpPr>
            <a:spLocks noGrp="1"/>
          </p:cNvSpPr>
          <p:nvPr>
            <p:ph type="sldNum" sz="quarter" idx="17"/>
          </p:nvPr>
        </p:nvSpPr>
        <p:spPr/>
        <p:txBody>
          <a:bodyPr wrap="square" anchor="b">
            <a:normAutofit/>
          </a:bodyPr>
          <a:lstStyle/>
          <a:p>
            <a:pPr>
              <a:spcAft>
                <a:spcPts val="600"/>
              </a:spcAft>
            </a:pPr>
            <a:fld id="{44661A95-0089-4306-9485-D330C59FE3ED}" type="slidenum">
              <a:rPr lang="de-DE" smtClean="0"/>
              <a:pPr>
                <a:spcAft>
                  <a:spcPts val="600"/>
                </a:spcAft>
              </a:pPr>
              <a:t>8</a:t>
            </a:fld>
            <a:endParaRPr lang="de-DE"/>
          </a:p>
        </p:txBody>
      </p:sp>
      <p:sp>
        <p:nvSpPr>
          <p:cNvPr id="9" name="Content Placeholder 1">
            <a:extLst>
              <a:ext uri="{FF2B5EF4-FFF2-40B4-BE49-F238E27FC236}">
                <a16:creationId xmlns:a16="http://schemas.microsoft.com/office/drawing/2014/main" id="{A986F65C-7C07-2821-4378-72B2F7999F57}"/>
              </a:ext>
            </a:extLst>
          </p:cNvPr>
          <p:cNvSpPr txBox="1">
            <a:spLocks/>
          </p:cNvSpPr>
          <p:nvPr/>
        </p:nvSpPr>
        <p:spPr bwMode="gray">
          <a:xfrm>
            <a:off x="6275263" y="4820412"/>
            <a:ext cx="4823780" cy="1467619"/>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9p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dirty="0"/>
              <a:t>For each of the different sections, you can download the graphic by clicking on the </a:t>
            </a:r>
            <a:r>
              <a:rPr lang="en-US" b="1" dirty="0"/>
              <a:t>‘Ellipses’ </a:t>
            </a:r>
            <a:r>
              <a:rPr lang="en-US" dirty="0"/>
              <a:t>and selecting the preferred filetype.</a:t>
            </a:r>
          </a:p>
        </p:txBody>
      </p:sp>
      <p:pic>
        <p:nvPicPr>
          <p:cNvPr id="10" name="Picture 9">
            <a:extLst>
              <a:ext uri="{FF2B5EF4-FFF2-40B4-BE49-F238E27FC236}">
                <a16:creationId xmlns:a16="http://schemas.microsoft.com/office/drawing/2014/main" id="{5259BEAD-E6F6-D898-EDA1-E9CE4102B5B1}"/>
              </a:ext>
            </a:extLst>
          </p:cNvPr>
          <p:cNvPicPr>
            <a:picLocks noChangeAspect="1"/>
          </p:cNvPicPr>
          <p:nvPr/>
        </p:nvPicPr>
        <p:blipFill>
          <a:blip r:embed="rId5"/>
          <a:srcRect/>
          <a:stretch/>
        </p:blipFill>
        <p:spPr>
          <a:xfrm>
            <a:off x="6679546" y="1995948"/>
            <a:ext cx="3900062" cy="2594568"/>
          </a:xfrm>
          <a:prstGeom prst="rect">
            <a:avLst/>
          </a:prstGeom>
        </p:spPr>
      </p:pic>
      <p:pic>
        <p:nvPicPr>
          <p:cNvPr id="16" name="Picture 15">
            <a:extLst>
              <a:ext uri="{FF2B5EF4-FFF2-40B4-BE49-F238E27FC236}">
                <a16:creationId xmlns:a16="http://schemas.microsoft.com/office/drawing/2014/main" id="{38260160-7F9F-9543-8D79-3CCB17168D67}"/>
              </a:ext>
            </a:extLst>
          </p:cNvPr>
          <p:cNvPicPr>
            <a:picLocks noChangeAspect="1"/>
          </p:cNvPicPr>
          <p:nvPr/>
        </p:nvPicPr>
        <p:blipFill>
          <a:blip r:embed="rId6"/>
          <a:srcRect/>
          <a:stretch/>
        </p:blipFill>
        <p:spPr>
          <a:xfrm>
            <a:off x="1267406" y="1890049"/>
            <a:ext cx="4872667" cy="2700467"/>
          </a:xfrm>
          <a:prstGeom prst="rect">
            <a:avLst/>
          </a:prstGeom>
        </p:spPr>
      </p:pic>
    </p:spTree>
    <p:extLst>
      <p:ext uri="{BB962C8B-B14F-4D97-AF65-F5344CB8AC3E}">
        <p14:creationId xmlns:p14="http://schemas.microsoft.com/office/powerpoint/2010/main" val="5504136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CC39E6-0A18-E81C-477F-FD19AC2A062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C9AD60D-B875-1712-3112-658E95A5DF24}"/>
              </a:ext>
            </a:extLst>
          </p:cNvPr>
          <p:cNvSpPr>
            <a:spLocks noGrp="1"/>
          </p:cNvSpPr>
          <p:nvPr>
            <p:ph type="title"/>
          </p:nvPr>
        </p:nvSpPr>
        <p:spPr bwMode="gray">
          <a:xfrm>
            <a:off x="1092200" y="789687"/>
            <a:ext cx="10007600" cy="604039"/>
          </a:xfrm>
        </p:spPr>
        <p:txBody>
          <a:bodyPr/>
          <a:lstStyle/>
          <a:p>
            <a:r>
              <a:rPr lang="en-US" dirty="0">
                <a:latin typeface="Barlow ExtraBold"/>
              </a:rPr>
              <a:t>Accessing Your Assigned </a:t>
            </a:r>
            <a:r>
              <a:rPr lang="en-US" noProof="0" dirty="0">
                <a:latin typeface="Barlow ExtraBold"/>
              </a:rPr>
              <a:t>Policies</a:t>
            </a:r>
            <a:endParaRPr lang="en-US" b="0" i="0" dirty="0">
              <a:latin typeface="Barlow ExtraBold"/>
            </a:endParaRPr>
          </a:p>
        </p:txBody>
      </p:sp>
      <p:sp>
        <p:nvSpPr>
          <p:cNvPr id="7" name="Slide Number Placeholder 6">
            <a:extLst>
              <a:ext uri="{FF2B5EF4-FFF2-40B4-BE49-F238E27FC236}">
                <a16:creationId xmlns:a16="http://schemas.microsoft.com/office/drawing/2014/main" id="{A9474146-A128-6DBB-953A-20C66545B36D}"/>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9</a:t>
            </a:fld>
            <a:endParaRPr lang="en-US" noProof="0"/>
          </a:p>
        </p:txBody>
      </p:sp>
      <p:sp>
        <p:nvSpPr>
          <p:cNvPr id="5" name="Inhaltsplatzhalter 5">
            <a:extLst>
              <a:ext uri="{FF2B5EF4-FFF2-40B4-BE49-F238E27FC236}">
                <a16:creationId xmlns:a16="http://schemas.microsoft.com/office/drawing/2014/main" id="{02CBFD47-E484-645A-1221-0A252E1FB787}"/>
              </a:ext>
            </a:extLst>
          </p:cNvPr>
          <p:cNvSpPr txBox="1">
            <a:spLocks/>
          </p:cNvSpPr>
          <p:nvPr/>
        </p:nvSpPr>
        <p:spPr bwMode="gray">
          <a:xfrm>
            <a:off x="1098235" y="1733923"/>
            <a:ext cx="3007571" cy="3762704"/>
          </a:xfrm>
          <a:prstGeom prst="rect">
            <a:avLst/>
          </a:prstGeom>
        </p:spPr>
        <p:txBody>
          <a:bodyPr vert="horz" lIns="0" tIns="0" rIns="0" bIns="0" rtlCol="0" anchor="t">
            <a:noAutofit/>
          </a:bodyPr>
          <a:lstStyle>
            <a:defPPr>
              <a:defRPr lang="de-DE"/>
            </a:defPPr>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000" dirty="0">
                <a:latin typeface="+mn-lt"/>
                <a:ea typeface="+mn-lt"/>
                <a:cs typeface="+mn-lt"/>
              </a:rPr>
              <a:t>You can navigate to </a:t>
            </a:r>
            <a:r>
              <a:rPr lang="en-US" sz="2000" dirty="0">
                <a:ea typeface="+mn-lt"/>
                <a:cs typeface="+mn-lt"/>
              </a:rPr>
              <a:t>your assigned policies </a:t>
            </a:r>
            <a:r>
              <a:rPr lang="en-US" sz="2000" dirty="0">
                <a:latin typeface="+mn-lt"/>
                <a:ea typeface="+mn-lt"/>
                <a:cs typeface="+mn-lt"/>
              </a:rPr>
              <a:t>in Compliance COCKPIT. </a:t>
            </a:r>
            <a:endParaRPr lang="en-US" sz="2000" dirty="0"/>
          </a:p>
          <a:p>
            <a:pPr lvl="5"/>
            <a:r>
              <a:rPr lang="en-US" sz="2000" dirty="0">
                <a:ea typeface="+mn-lt"/>
                <a:cs typeface="+mn-lt"/>
              </a:rPr>
              <a:t>From the home page, choose ‘</a:t>
            </a:r>
            <a:r>
              <a:rPr lang="en-US" sz="2000" b="1" dirty="0">
                <a:ea typeface="+mn-lt"/>
                <a:cs typeface="+mn-lt"/>
              </a:rPr>
              <a:t>Policies’</a:t>
            </a:r>
            <a:r>
              <a:rPr lang="en-US" sz="2000" dirty="0">
                <a:ea typeface="+mn-lt"/>
                <a:cs typeface="+mn-lt"/>
              </a:rPr>
              <a:t> from the left-side menu, then select the ‘</a:t>
            </a:r>
            <a:r>
              <a:rPr lang="en-US" sz="2000" b="1" dirty="0">
                <a:ea typeface="+mn-lt"/>
                <a:cs typeface="+mn-lt"/>
              </a:rPr>
              <a:t>Work in progress’</a:t>
            </a:r>
            <a:r>
              <a:rPr lang="en-US" sz="2000" dirty="0">
                <a:ea typeface="+mn-lt"/>
                <a:cs typeface="+mn-lt"/>
              </a:rPr>
              <a:t> or ‘</a:t>
            </a:r>
            <a:r>
              <a:rPr lang="en-US" sz="2000" b="1" dirty="0">
                <a:ea typeface="+mn-lt"/>
                <a:cs typeface="+mn-lt"/>
              </a:rPr>
              <a:t>Published policies’ </a:t>
            </a:r>
            <a:r>
              <a:rPr lang="en-US" sz="2000" dirty="0">
                <a:ea typeface="+mn-lt"/>
                <a:cs typeface="+mn-lt"/>
              </a:rPr>
              <a:t>tab.</a:t>
            </a:r>
            <a:endParaRPr lang="en-US" sz="2000" dirty="0"/>
          </a:p>
        </p:txBody>
      </p:sp>
      <p:pic>
        <p:nvPicPr>
          <p:cNvPr id="4" name="Picture 3">
            <a:extLst>
              <a:ext uri="{FF2B5EF4-FFF2-40B4-BE49-F238E27FC236}">
                <a16:creationId xmlns:a16="http://schemas.microsoft.com/office/drawing/2014/main" id="{D23211B2-1FD1-9B56-0895-411F63DB56B7}"/>
              </a:ext>
            </a:extLst>
          </p:cNvPr>
          <p:cNvPicPr>
            <a:picLocks noChangeAspect="1"/>
          </p:cNvPicPr>
          <p:nvPr/>
        </p:nvPicPr>
        <p:blipFill>
          <a:blip r:embed="rId4"/>
          <a:srcRect/>
          <a:stretch/>
        </p:blipFill>
        <p:spPr>
          <a:xfrm>
            <a:off x="6280363" y="1733923"/>
            <a:ext cx="2601105" cy="2509585"/>
          </a:xfrm>
          <a:prstGeom prst="rect">
            <a:avLst/>
          </a:prstGeom>
          <a:ln>
            <a:noFill/>
          </a:ln>
        </p:spPr>
      </p:pic>
      <p:pic>
        <p:nvPicPr>
          <p:cNvPr id="6" name="Picture 5">
            <a:extLst>
              <a:ext uri="{FF2B5EF4-FFF2-40B4-BE49-F238E27FC236}">
                <a16:creationId xmlns:a16="http://schemas.microsoft.com/office/drawing/2014/main" id="{5E8400C8-8BAA-9B94-5DF8-E9FF15DBE7C0}"/>
              </a:ext>
            </a:extLst>
          </p:cNvPr>
          <p:cNvPicPr>
            <a:picLocks noChangeAspect="1"/>
          </p:cNvPicPr>
          <p:nvPr/>
        </p:nvPicPr>
        <p:blipFill>
          <a:blip r:embed="rId5"/>
          <a:srcRect/>
          <a:stretch/>
        </p:blipFill>
        <p:spPr>
          <a:xfrm>
            <a:off x="5452628" y="4470298"/>
            <a:ext cx="4256576" cy="1564333"/>
          </a:xfrm>
          <a:prstGeom prst="rect">
            <a:avLst/>
          </a:prstGeom>
          <a:ln>
            <a:noFill/>
          </a:ln>
        </p:spPr>
      </p:pic>
    </p:spTree>
    <p:extLst>
      <p:ext uri="{BB962C8B-B14F-4D97-AF65-F5344CB8AC3E}">
        <p14:creationId xmlns:p14="http://schemas.microsoft.com/office/powerpoint/2010/main" val="34661362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EQS Group_PPT-Master_16zu9">
  <a:themeElements>
    <a:clrScheme name="EQS">
      <a:dk1>
        <a:srgbClr val="262C38"/>
      </a:dk1>
      <a:lt1>
        <a:sysClr val="window" lastClr="FFFFFF"/>
      </a:lt1>
      <a:dk2>
        <a:srgbClr val="ECEFF8"/>
      </a:dk2>
      <a:lt2>
        <a:srgbClr val="9BA4BF"/>
      </a:lt2>
      <a:accent1>
        <a:srgbClr val="E90055"/>
      </a:accent1>
      <a:accent2>
        <a:srgbClr val="FF6300"/>
      </a:accent2>
      <a:accent3>
        <a:srgbClr val="FFA000"/>
      </a:accent3>
      <a:accent4>
        <a:srgbClr val="FFD900"/>
      </a:accent4>
      <a:accent5>
        <a:srgbClr val="F2D4ED"/>
      </a:accent5>
      <a:accent6>
        <a:srgbClr val="DD93D2"/>
      </a:accent6>
      <a:hlink>
        <a:srgbClr val="E90055"/>
      </a:hlink>
      <a:folHlink>
        <a:srgbClr val="E90055"/>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tx2"/>
        </a:solidFill>
        <a:ln w="139700" cap="rnd">
          <a:solidFill>
            <a:schemeClr val="tx2"/>
          </a:solidFill>
          <a:round/>
        </a:ln>
      </a:spPr>
      <a:bodyPr lIns="72000" tIns="36000" rIns="72000" bIns="36000"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355600" indent="-355600" algn="l">
          <a:lnSpc>
            <a:spcPct val="110000"/>
          </a:lnSpc>
          <a:spcAft>
            <a:spcPts val="600"/>
          </a:spcAft>
          <a:buClr>
            <a:schemeClr val="accent1"/>
          </a:buClr>
          <a:buBlip>
            <a:blip xmlns:r="http://schemas.openxmlformats.org/officeDocument/2006/relationships" r:embed="rId1"/>
          </a:buBlip>
          <a:defRPr sz="2000" smtClean="0"/>
        </a:defPPr>
      </a:lstStyle>
    </a:txDef>
  </a:objectDefaults>
  <a:extraClrSchemeLst/>
  <a:custClrLst>
    <a:custClr name="#F5F7FD">
      <a:srgbClr val="F5F7FD"/>
    </a:custClr>
    <a:custClr name="#707c9e">
      <a:srgbClr val="707C9E"/>
    </a:custClr>
    <a:custClr name="#">
      <a:srgbClr val="FFFFFF"/>
    </a:custClr>
    <a:custClr name="#DAFBED">
      <a:srgbClr val="DAFBED"/>
    </a:custClr>
    <a:custClr name="#FBCCDD">
      <a:srgbClr val="FBCCDD"/>
    </a:custClr>
    <a:custClr name="#FFE0CC">
      <a:srgbClr val="FFE0CC"/>
    </a:custClr>
    <a:custClr name="#FFECCC">
      <a:srgbClr val="FFECCC"/>
    </a:custClr>
    <a:custClr name="#FFF7CC">
      <a:srgbClr val="FFF7CC"/>
    </a:custClr>
    <a:custClr name="#F2D4ED">
      <a:srgbClr val="F2D4ED"/>
    </a:custClr>
    <a:custClr name="#beeef6">
      <a:srgbClr val="BEEEF6"/>
    </a:custClr>
    <a:custClr name="#ECEFF8">
      <a:srgbClr val="ECEFF8"/>
    </a:custClr>
    <a:custClr name="#515a76">
      <a:srgbClr val="515A76"/>
    </a:custClr>
    <a:custClr name="#">
      <a:srgbClr val="FFFFFF"/>
    </a:custClr>
    <a:custClr name="#B6F6DA">
      <a:srgbClr val="B6F6DA"/>
    </a:custClr>
    <a:custClr name="#F699BB">
      <a:srgbClr val="F699BB"/>
    </a:custClr>
    <a:custClr name="#FFC199">
      <a:srgbClr val="FFC199"/>
    </a:custClr>
    <a:custClr name="#FFD999">
      <a:srgbClr val="FFD999"/>
    </a:custClr>
    <a:custClr name="#FFF099">
      <a:srgbClr val="FFF099"/>
    </a:custClr>
    <a:custClr name="#dd93d2">
      <a:srgbClr val="DD93D2"/>
    </a:custClr>
    <a:custClr name="#A8E9F3">
      <a:srgbClr val="A8E9F3"/>
    </a:custClr>
    <a:custClr name="#DCE1EF">
      <a:srgbClr val="DCE1EF"/>
    </a:custClr>
    <a:custClr name="#3a4155">
      <a:srgbClr val="3A4155"/>
    </a:custClr>
    <a:custClr name="#">
      <a:srgbClr val="FFFFFF"/>
    </a:custClr>
    <a:custClr name="#7ff0bf">
      <a:srgbClr val="7FF0BF"/>
    </a:custClr>
    <a:custClr name="#F04C88">
      <a:srgbClr val="F04C88"/>
    </a:custClr>
    <a:custClr name="#FF924D">
      <a:srgbClr val="FF924D"/>
    </a:custClr>
    <a:custClr name="#FFBC4D">
      <a:srgbClr val="FFBC4D"/>
    </a:custClr>
    <a:custClr name="#FFE44D">
      <a:srgbClr val="FFE44D"/>
    </a:custClr>
    <a:custClr name="#BC27A5">
      <a:srgbClr val="BC27A5"/>
    </a:custClr>
    <a:custClr name="#25C7E0">
      <a:srgbClr val="25C7E0"/>
    </a:custClr>
    <a:custClr name="#C4CBDE">
      <a:srgbClr val="C4CBDE"/>
    </a:custClr>
    <a:custClr name="#12161f">
      <a:srgbClr val="12161F"/>
    </a:custClr>
    <a:custClr name="#">
      <a:srgbClr val="FFFFFF"/>
    </a:custClr>
    <a:custClr name="#48e9a3">
      <a:srgbClr val="48E9A3"/>
    </a:custClr>
    <a:custClr name="#A3003C">
      <a:srgbClr val="A3003C"/>
    </a:custClr>
    <a:custClr name="#B24600">
      <a:srgbClr val="B24600"/>
    </a:custClr>
    <a:custClr name="#B27000">
      <a:srgbClr val="B27000"/>
    </a:custClr>
    <a:custClr name="#B29800">
      <a:srgbClr val="B29800"/>
    </a:custClr>
    <a:custClr name="#871c77">
      <a:srgbClr val="871C77"/>
    </a:custClr>
    <a:custClr name="#1caec4">
      <a:srgbClr val="1CAEC4"/>
    </a:custClr>
    <a:custClr name="#9ba4bf">
      <a:srgbClr val="9BA4BF"/>
    </a:custClr>
    <a:custClr name="#000000">
      <a:srgbClr val="000000"/>
    </a:custClr>
    <a:custClr name="#">
      <a:srgbClr val="FFFFFF"/>
    </a:custClr>
    <a:custClr name="#0d6d44">
      <a:srgbClr val="0D6D44"/>
    </a:custClr>
    <a:custClr name="#660025">
      <a:srgbClr val="660025"/>
    </a:custClr>
    <a:custClr name="#662800">
      <a:srgbClr val="662800"/>
    </a:custClr>
    <a:custClr name="#664000">
      <a:srgbClr val="664000"/>
    </a:custClr>
    <a:custClr name="#665700">
      <a:srgbClr val="665700"/>
    </a:custClr>
    <a:custClr name="#55114b">
      <a:srgbClr val="55114B"/>
    </a:custClr>
    <a:custClr name="#126f7d">
      <a:srgbClr val="126F7D"/>
    </a:custClr>
  </a:custClrLst>
  <a:extLst>
    <a:ext uri="{05A4C25C-085E-4340-85A3-A5531E510DB2}">
      <thm15:themeFamily xmlns:thm15="http://schemas.microsoft.com/office/thememl/2012/main" name="Präsentation1" id="{320F6E9D-75ED-9F47-BA85-B86DB317BBCC}" vid="{700B3038-31E2-9C48-B747-D3D7C6D96778}"/>
    </a:ext>
  </a:extLst>
</a:theme>
</file>

<file path=ppt/theme/theme2.xml><?xml version="1.0" encoding="utf-8"?>
<a:theme xmlns:a="http://schemas.openxmlformats.org/drawingml/2006/main" name="Office">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76F8332F7EC3047AEED30EEF58C5F70" ma:contentTypeVersion="14" ma:contentTypeDescription="Create a new document." ma:contentTypeScope="" ma:versionID="4ade3a5ac6fb202c21f6cc4a7b26ca84">
  <xsd:schema xmlns:xsd="http://www.w3.org/2001/XMLSchema" xmlns:xs="http://www.w3.org/2001/XMLSchema" xmlns:p="http://schemas.microsoft.com/office/2006/metadata/properties" xmlns:ns2="50e13c11-405e-4a8e-8652-d220e0fa51ce" xmlns:ns3="1dd26536-b335-48d9-97ae-50a8dfab001f" targetNamespace="http://schemas.microsoft.com/office/2006/metadata/properties" ma:root="true" ma:fieldsID="6beb39171b527f73e648c2fce2e86cb6" ns2:_="" ns3:_="">
    <xsd:import namespace="50e13c11-405e-4a8e-8652-d220e0fa51ce"/>
    <xsd:import namespace="1dd26536-b335-48d9-97ae-50a8dfab001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Reviewed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e13c11-405e-4a8e-8652-d220e0fa51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11f235c-9694-4717-940c-eb0db9c76951"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Reviewed_x003f_" ma:index="21" nillable="true" ma:displayName="Reviewed?" ma:format="Dropdown" ma:internalName="Reviewed_x003f_">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1dd26536-b335-48d9-97ae-50a8dfab001f"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c1f7180-de1a-44cd-86b9-1b05a2a08b16}" ma:internalName="TaxCatchAll" ma:showField="CatchAllData" ma:web="1dd26536-b335-48d9-97ae-50a8dfab001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0e13c11-405e-4a8e-8652-d220e0fa51ce">
      <Terms xmlns="http://schemas.microsoft.com/office/infopath/2007/PartnerControls"/>
    </lcf76f155ced4ddcb4097134ff3c332f>
    <TaxCatchAll xmlns="1dd26536-b335-48d9-97ae-50a8dfab001f" xsi:nil="true"/>
    <Reviewed_x003f_ xmlns="50e13c11-405e-4a8e-8652-d220e0fa51ce" xsi:nil="true"/>
  </documentManagement>
</p:properties>
</file>

<file path=customXml/itemProps1.xml><?xml version="1.0" encoding="utf-8"?>
<ds:datastoreItem xmlns:ds="http://schemas.openxmlformats.org/officeDocument/2006/customXml" ds:itemID="{6FACC4AB-DB94-4D18-AE40-1CC16919CD2D}">
  <ds:schemaRefs>
    <ds:schemaRef ds:uri="http://schemas.microsoft.com/sharepoint/v3/contenttype/forms"/>
  </ds:schemaRefs>
</ds:datastoreItem>
</file>

<file path=customXml/itemProps2.xml><?xml version="1.0" encoding="utf-8"?>
<ds:datastoreItem xmlns:ds="http://schemas.openxmlformats.org/officeDocument/2006/customXml" ds:itemID="{D855750B-AD1F-476F-9798-2890B95D6E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e13c11-405e-4a8e-8652-d220e0fa51ce"/>
    <ds:schemaRef ds:uri="1dd26536-b335-48d9-97ae-50a8dfab00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D89253F-B28A-49A4-9A97-7AF1447DBAF3}">
  <ds:schemaRefs>
    <ds:schemaRef ds:uri="1dd26536-b335-48d9-97ae-50a8dfab001f"/>
    <ds:schemaRef ds:uri="396ae2f8-ac04-4a97-945e-1c871cc4839f"/>
    <ds:schemaRef ds:uri="50e13c11-405e-4a8e-8652-d220e0fa51ce"/>
    <ds:schemaRef ds:uri="8d3a39d0-7c87-4f31-bede-6281f35f7d7f"/>
    <ds:schemaRef ds:uri="96149a11-480b-4f98-ab43-312eaaf0ac2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EQS Group_PPT-Master_16zu9</Template>
  <TotalTime>5228</TotalTime>
  <Words>1607</Words>
  <Application>Microsoft Macintosh PowerPoint</Application>
  <PresentationFormat>Widescreen</PresentationFormat>
  <Paragraphs>176</Paragraphs>
  <Slides>31</Slides>
  <Notes>15</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4" baseType="lpstr">
      <vt:lpstr>Arial</vt:lpstr>
      <vt:lpstr>Barlow</vt:lpstr>
      <vt:lpstr>Barlow Black</vt:lpstr>
      <vt:lpstr>Barlow Condensed Medium</vt:lpstr>
      <vt:lpstr>Barlow ExtraBold</vt:lpstr>
      <vt:lpstr>Barlow Light</vt:lpstr>
      <vt:lpstr>Barlow Medium</vt:lpstr>
      <vt:lpstr>Calibri</vt:lpstr>
      <vt:lpstr>Ubuntu</vt:lpstr>
      <vt:lpstr>Wingdings</vt:lpstr>
      <vt:lpstr>Yanone Kaffeesatz</vt:lpstr>
      <vt:lpstr>EQS Group_PPT-Master_16zu9</vt:lpstr>
      <vt:lpstr>think-cell Folie</vt:lpstr>
      <vt:lpstr>Recommendations for using this training presentation</vt:lpstr>
      <vt:lpstr>Policies</vt:lpstr>
      <vt:lpstr>Agenda</vt:lpstr>
      <vt:lpstr>01</vt:lpstr>
      <vt:lpstr>Policy distribution via the Campaign module</vt:lpstr>
      <vt:lpstr>02</vt:lpstr>
      <vt:lpstr>Accessing Policies Module</vt:lpstr>
      <vt:lpstr>Policy Dashboard Overview</vt:lpstr>
      <vt:lpstr>Accessing Your Assigned Policies</vt:lpstr>
      <vt:lpstr>Work in Progress tab</vt:lpstr>
      <vt:lpstr>Published Policies tab</vt:lpstr>
      <vt:lpstr>03</vt:lpstr>
      <vt:lpstr>Open and Review a Policy</vt:lpstr>
      <vt:lpstr>Reviewing a Policy</vt:lpstr>
      <vt:lpstr>Reviewing a Policy</vt:lpstr>
      <vt:lpstr>Reviewing a Policy</vt:lpstr>
      <vt:lpstr>Reviewing a Policy</vt:lpstr>
      <vt:lpstr>Reviewing a Policy</vt:lpstr>
      <vt:lpstr>Reviewing a Policy</vt:lpstr>
      <vt:lpstr>Reviewing a Policy</vt:lpstr>
      <vt:lpstr>Reviewing a Policy</vt:lpstr>
      <vt:lpstr>04</vt:lpstr>
      <vt:lpstr>Editing A Published Policy</vt:lpstr>
      <vt:lpstr>Editing A Published Policy</vt:lpstr>
      <vt:lpstr>Editing A Published Policy</vt:lpstr>
      <vt:lpstr>05</vt:lpstr>
      <vt:lpstr>Creating a New Version of a Published Policy</vt:lpstr>
      <vt:lpstr>Creating a New Version of a Published Policy</vt:lpstr>
      <vt:lpstr>Creating a New Version of a Policy</vt:lpstr>
      <vt:lpstr>Creating a New Version of a Policy</vt:lpstr>
      <vt:lpstr>Thank you for your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egan Akiba</dc:creator>
  <cp:lastModifiedBy>Rachael Chagnon</cp:lastModifiedBy>
  <cp:revision>554</cp:revision>
  <cp:lastPrinted>2017-03-10T15:17:38Z</cp:lastPrinted>
  <dcterms:created xsi:type="dcterms:W3CDTF">2025-06-03T19:22:15Z</dcterms:created>
  <dcterms:modified xsi:type="dcterms:W3CDTF">2026-05-27T20:1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6F8332F7EC3047AEED30EEF58C5F70</vt:lpwstr>
  </property>
  <property fmtid="{D5CDD505-2E9C-101B-9397-08002B2CF9AE}" pid="3" name="MediaServiceImageTags">
    <vt:lpwstr/>
  </property>
  <property fmtid="{D5CDD505-2E9C-101B-9397-08002B2CF9AE}" pid="4" name="Order">
    <vt:lpwstr>7066900.00000000</vt:lpwstr>
  </property>
  <property fmtid="{D5CDD505-2E9C-101B-9397-08002B2CF9AE}" pid="5" name="xd_ProgID">
    <vt:lpwstr/>
  </property>
  <property fmtid="{D5CDD505-2E9C-101B-9397-08002B2CF9AE}" pid="6" name="_SourceUrl">
    <vt:lpwstr/>
  </property>
  <property fmtid="{D5CDD505-2E9C-101B-9397-08002B2CF9AE}" pid="7" name="_SharedFileIndex">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y fmtid="{D5CDD505-2E9C-101B-9397-08002B2CF9AE}" pid="12" name="xd_Signature">
    <vt:lpwstr/>
  </property>
</Properties>
</file>